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slides/slide142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s/slide120.xml" ContentType="application/vnd.openxmlformats-officedocument.presentationml.slide+xml"/>
  <Override PartName="/ppt/slides/slide131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69.xml" ContentType="application/vnd.openxmlformats-officedocument.presentationml.slide+xml"/>
  <Override PartName="/ppt/tableStyles.xml" ContentType="application/vnd.openxmlformats-officedocument.presentationml.tableStyles+xml"/>
  <Override PartName="/ppt/slides/slide129.xml" ContentType="application/vnd.openxmlformats-officedocument.presentationml.slide+xml"/>
  <Override PartName="/ppt/slides/slide147.xml" ContentType="application/vnd.openxmlformats-officedocument.presentationml.slide+xml"/>
  <Override PartName="/ppt/slides/slide158.xml" ContentType="application/vnd.openxmlformats-officedocument.presentationml.slide+xml"/>
  <Override PartName="/ppt/slides/slide99.xml" ContentType="application/vnd.openxmlformats-officedocument.presentationml.slide+xml"/>
  <Override PartName="/ppt/slides/slide118.xml" ContentType="application/vnd.openxmlformats-officedocument.presentationml.slide+xml"/>
  <Override PartName="/ppt/slides/slide136.xml" ContentType="application/vnd.openxmlformats-officedocument.presentationml.slide+xml"/>
  <Override PartName="/ppt/slides/slide165.xml" ContentType="application/vnd.openxmlformats-officedocument.presentationml.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s/slide107.xml" ContentType="application/vnd.openxmlformats-officedocument.presentationml.slide+xml"/>
  <Override PartName="/ppt/slides/slide125.xml" ContentType="application/vnd.openxmlformats-officedocument.presentationml.slide+xml"/>
  <Override PartName="/ppt/slides/slide143.xml" ContentType="application/vnd.openxmlformats-officedocument.presentationml.slide+xml"/>
  <Override PartName="/ppt/slides/slide154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s/slide132.xml" ContentType="application/vnd.openxmlformats-officedocument.presentationml.slide+xml"/>
  <Override PartName="/ppt/slides/slide150.xml" ContentType="application/vnd.openxmlformats-officedocument.presentationml.slide+xml"/>
  <Override PartName="/ppt/slides/slide161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121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s/slide159.xml" ContentType="application/vnd.openxmlformats-officedocument.presentationml.slide+xml"/>
  <Override PartName="/ppt/slides/slide119.xml" ContentType="application/vnd.openxmlformats-officedocument.presentationml.slide+xml"/>
  <Override PartName="/ppt/slides/slide148.xml" ContentType="application/vnd.openxmlformats-officedocument.presentationml.slide+xml"/>
  <Override PartName="/ppt/slides/slide166.xml" ContentType="application/vnd.openxmlformats-officedocument.presentationml.slide+xml"/>
  <Override PartName="/ppt/slideLayouts/slideLayout10.xml" ContentType="application/vnd.openxmlformats-officedocument.presentationml.slideLayout+xml"/>
  <Override PartName="/ppt/comments/comment1.xml" ContentType="application/vnd.openxmlformats-officedocument.presentationml.comments+xml"/>
  <Default Extension="gif" ContentType="image/gif"/>
  <Override PartName="/ppt/slides/slide89.xml" ContentType="application/vnd.openxmlformats-officedocument.presentationml.slide+xml"/>
  <Override PartName="/ppt/slides/slide108.xml" ContentType="application/vnd.openxmlformats-officedocument.presentationml.slide+xml"/>
  <Override PartName="/ppt/slides/slide126.xml" ContentType="application/vnd.openxmlformats-officedocument.presentationml.slide+xml"/>
  <Override PartName="/ppt/slides/slide137.xml" ContentType="application/vnd.openxmlformats-officedocument.presentationml.slide+xml"/>
  <Override PartName="/ppt/slides/slide155.xml" ContentType="application/vnd.openxmlformats-officedocument.presentationml.slide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slides/slide115.xml" ContentType="application/vnd.openxmlformats-officedocument.presentationml.slide+xml"/>
  <Override PartName="/ppt/slides/slide144.xml" ContentType="application/vnd.openxmlformats-officedocument.presentationml.slide+xml"/>
  <Override PartName="/ppt/slides/slide162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s/slide122.xml" ContentType="application/vnd.openxmlformats-officedocument.presentationml.slide+xml"/>
  <Override PartName="/ppt/slides/slide133.xml" ContentType="application/vnd.openxmlformats-officedocument.presentationml.slide+xml"/>
  <Override PartName="/ppt/slides/slide151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s/slide111.xml" ContentType="application/vnd.openxmlformats-officedocument.presentationml.slide+xml"/>
  <Override PartName="/ppt/slides/slide140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s/slide149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38.xml" ContentType="application/vnd.openxmlformats-officedocument.presentationml.slide+xml"/>
  <Override PartName="/ppt/slides/slide167.xml" ContentType="application/vnd.openxmlformats-officedocument.presentationml.slide+xml"/>
  <Override PartName="/ppt/commentAuthors.xml" ContentType="application/vnd.openxmlformats-officedocument.presentationml.commentAuthors+xml"/>
  <Override PartName="/ppt/comments/comment2.xml" ContentType="application/vnd.openxmlformats-officedocument.presentationml.comments+xml"/>
  <Override PartName="/ppt/slides/slide79.xml" ContentType="application/vnd.openxmlformats-officedocument.presentationml.slide+xml"/>
  <Override PartName="/ppt/slides/slide109.xml" ContentType="application/vnd.openxmlformats-officedocument.presentationml.slide+xml"/>
  <Override PartName="/ppt/slides/slide127.xml" ContentType="application/vnd.openxmlformats-officedocument.presentationml.slide+xml"/>
  <Override PartName="/ppt/slides/slide145.xml" ContentType="application/vnd.openxmlformats-officedocument.presentationml.slide+xml"/>
  <Override PartName="/ppt/slides/slide156.xml" ContentType="application/vnd.openxmlformats-officedocument.presentationml.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s/slide116.xml" ContentType="application/vnd.openxmlformats-officedocument.presentationml.slide+xml"/>
  <Override PartName="/ppt/slides/slide134.xml" ContentType="application/vnd.openxmlformats-officedocument.presentationml.slide+xml"/>
  <Override PartName="/ppt/slides/slide163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slides/slide123.xml" ContentType="application/vnd.openxmlformats-officedocument.presentationml.slide+xml"/>
  <Override PartName="/ppt/slides/slide141.xml" ContentType="application/vnd.openxmlformats-officedocument.presentationml.slide+xml"/>
  <Override PartName="/ppt/slides/slide152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0.xml" ContentType="application/vnd.openxmlformats-officedocument.presentationml.slide+xml"/>
  <Override PartName="/ppt/slides/slide168.xml" ContentType="application/vnd.openxmlformats-officedocument.presentationml.slide+xml"/>
  <Override PartName="/ppt/slides/slide139.xml" ContentType="application/vnd.openxmlformats-officedocument.presentationml.slide+xml"/>
  <Override PartName="/ppt/slides/slide157.xml" ContentType="application/vnd.openxmlformats-officedocument.presentationml.slide+xml"/>
  <Override PartName="/ppt/slides/slide98.xml" ContentType="application/vnd.openxmlformats-officedocument.presentationml.slide+xml"/>
  <Override PartName="/ppt/slides/slide117.xml" ContentType="application/vnd.openxmlformats-officedocument.presentationml.slide+xml"/>
  <Override PartName="/ppt/slides/slide128.xml" ContentType="application/vnd.openxmlformats-officedocument.presentationml.slide+xml"/>
  <Override PartName="/ppt/slides/slide146.xml" ContentType="application/vnd.openxmlformats-officedocument.presentationml.slide+xml"/>
  <Override PartName="/ppt/slides/slide164.xml" ContentType="application/vnd.openxmlformats-officedocument.presentationml.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slides/slide106.xml" ContentType="application/vnd.openxmlformats-officedocument.presentationml.slide+xml"/>
  <Override PartName="/ppt/slides/slide124.xml" ContentType="application/vnd.openxmlformats-officedocument.presentationml.slide+xml"/>
  <Override PartName="/ppt/slides/slide135.xml" ContentType="application/vnd.openxmlformats-officedocument.presentationml.slide+xml"/>
  <Override PartName="/ppt/slides/slide153.xml" ContentType="application/vnd.openxmlformats-officedocument.presentationml.slide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113.xml" ContentType="application/vnd.openxmlformats-officedocument.presentationml.slide+xml"/>
  <Override PartName="/ppt/slides/slide160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1"/>
  </p:notesMasterIdLst>
  <p:handoutMasterIdLst>
    <p:handoutMasterId r:id="rId172"/>
  </p:handoutMasterIdLst>
  <p:sldIdLst>
    <p:sldId id="256" r:id="rId2"/>
    <p:sldId id="549" r:id="rId3"/>
    <p:sldId id="550" r:id="rId4"/>
    <p:sldId id="551" r:id="rId5"/>
    <p:sldId id="314" r:id="rId6"/>
    <p:sldId id="258" r:id="rId7"/>
    <p:sldId id="360" r:id="rId8"/>
    <p:sldId id="259" r:id="rId9"/>
    <p:sldId id="552" r:id="rId10"/>
    <p:sldId id="511" r:id="rId11"/>
    <p:sldId id="268" r:id="rId12"/>
    <p:sldId id="431" r:id="rId13"/>
    <p:sldId id="414" r:id="rId14"/>
    <p:sldId id="430" r:id="rId15"/>
    <p:sldId id="271" r:id="rId16"/>
    <p:sldId id="416" r:id="rId17"/>
    <p:sldId id="423" r:id="rId18"/>
    <p:sldId id="424" r:id="rId19"/>
    <p:sldId id="417" r:id="rId20"/>
    <p:sldId id="419" r:id="rId21"/>
    <p:sldId id="420" r:id="rId22"/>
    <p:sldId id="421" r:id="rId23"/>
    <p:sldId id="422" r:id="rId24"/>
    <p:sldId id="426" r:id="rId25"/>
    <p:sldId id="555" r:id="rId26"/>
    <p:sldId id="277" r:id="rId27"/>
    <p:sldId id="279" r:id="rId28"/>
    <p:sldId id="311" r:id="rId29"/>
    <p:sldId id="296" r:id="rId30"/>
    <p:sldId id="534" r:id="rId31"/>
    <p:sldId id="297" r:id="rId32"/>
    <p:sldId id="280" r:id="rId33"/>
    <p:sldId id="318" r:id="rId34"/>
    <p:sldId id="319" r:id="rId35"/>
    <p:sldId id="320" r:id="rId36"/>
    <p:sldId id="413" r:id="rId37"/>
    <p:sldId id="412" r:id="rId38"/>
    <p:sldId id="340" r:id="rId39"/>
    <p:sldId id="395" r:id="rId40"/>
    <p:sldId id="411" r:id="rId41"/>
    <p:sldId id="396" r:id="rId42"/>
    <p:sldId id="397" r:id="rId43"/>
    <p:sldId id="398" r:id="rId44"/>
    <p:sldId id="399" r:id="rId45"/>
    <p:sldId id="400" r:id="rId46"/>
    <p:sldId id="432" r:id="rId47"/>
    <p:sldId id="433" r:id="rId48"/>
    <p:sldId id="401" r:id="rId49"/>
    <p:sldId id="402" r:id="rId50"/>
    <p:sldId id="524" r:id="rId51"/>
    <p:sldId id="403" r:id="rId52"/>
    <p:sldId id="404" r:id="rId53"/>
    <p:sldId id="405" r:id="rId54"/>
    <p:sldId id="260" r:id="rId55"/>
    <p:sldId id="353" r:id="rId56"/>
    <p:sldId id="354" r:id="rId57"/>
    <p:sldId id="355" r:id="rId58"/>
    <p:sldId id="299" r:id="rId59"/>
    <p:sldId id="300" r:id="rId60"/>
    <p:sldId id="529" r:id="rId61"/>
    <p:sldId id="531" r:id="rId62"/>
    <p:sldId id="530" r:id="rId63"/>
    <p:sldId id="532" r:id="rId64"/>
    <p:sldId id="553" r:id="rId65"/>
    <p:sldId id="554" r:id="rId66"/>
    <p:sldId id="528" r:id="rId67"/>
    <p:sldId id="301" r:id="rId68"/>
    <p:sldId id="303" r:id="rId69"/>
    <p:sldId id="356" r:id="rId70"/>
    <p:sldId id="357" r:id="rId71"/>
    <p:sldId id="358" r:id="rId72"/>
    <p:sldId id="525" r:id="rId73"/>
    <p:sldId id="526" r:id="rId74"/>
    <p:sldId id="304" r:id="rId75"/>
    <p:sldId id="519" r:id="rId76"/>
    <p:sldId id="520" r:id="rId77"/>
    <p:sldId id="522" r:id="rId78"/>
    <p:sldId id="523" r:id="rId79"/>
    <p:sldId id="556" r:id="rId80"/>
    <p:sldId id="407" r:id="rId81"/>
    <p:sldId id="408" r:id="rId82"/>
    <p:sldId id="409" r:id="rId83"/>
    <p:sldId id="410" r:id="rId84"/>
    <p:sldId id="495" r:id="rId85"/>
    <p:sldId id="496" r:id="rId86"/>
    <p:sldId id="497" r:id="rId87"/>
    <p:sldId id="498" r:id="rId88"/>
    <p:sldId id="499" r:id="rId89"/>
    <p:sldId id="500" r:id="rId90"/>
    <p:sldId id="501" r:id="rId91"/>
    <p:sldId id="502" r:id="rId92"/>
    <p:sldId id="503" r:id="rId93"/>
    <p:sldId id="504" r:id="rId94"/>
    <p:sldId id="505" r:id="rId95"/>
    <p:sldId id="506" r:id="rId96"/>
    <p:sldId id="507" r:id="rId97"/>
    <p:sldId id="508" r:id="rId98"/>
    <p:sldId id="538" r:id="rId99"/>
    <p:sldId id="539" r:id="rId100"/>
    <p:sldId id="540" r:id="rId101"/>
    <p:sldId id="544" r:id="rId102"/>
    <p:sldId id="542" r:id="rId103"/>
    <p:sldId id="543" r:id="rId104"/>
    <p:sldId id="545" r:id="rId105"/>
    <p:sldId id="548" r:id="rId106"/>
    <p:sldId id="372" r:id="rId107"/>
    <p:sldId id="460" r:id="rId108"/>
    <p:sldId id="557" r:id="rId109"/>
    <p:sldId id="558" r:id="rId110"/>
    <p:sldId id="459" r:id="rId111"/>
    <p:sldId id="446" r:id="rId112"/>
    <p:sldId id="435" r:id="rId113"/>
    <p:sldId id="452" r:id="rId114"/>
    <p:sldId id="436" r:id="rId115"/>
    <p:sldId id="437" r:id="rId116"/>
    <p:sldId id="438" r:id="rId117"/>
    <p:sldId id="439" r:id="rId118"/>
    <p:sldId id="461" r:id="rId119"/>
    <p:sldId id="453" r:id="rId120"/>
    <p:sldId id="450" r:id="rId121"/>
    <p:sldId id="447" r:id="rId122"/>
    <p:sldId id="448" r:id="rId123"/>
    <p:sldId id="449" r:id="rId124"/>
    <p:sldId id="518" r:id="rId125"/>
    <p:sldId id="457" r:id="rId126"/>
    <p:sldId id="441" r:id="rId127"/>
    <p:sldId id="440" r:id="rId128"/>
    <p:sldId id="442" r:id="rId129"/>
    <p:sldId id="443" r:id="rId130"/>
    <p:sldId id="533" r:id="rId131"/>
    <p:sldId id="470" r:id="rId132"/>
    <p:sldId id="491" r:id="rId133"/>
    <p:sldId id="482" r:id="rId134"/>
    <p:sldId id="483" r:id="rId135"/>
    <p:sldId id="485" r:id="rId136"/>
    <p:sldId id="486" r:id="rId137"/>
    <p:sldId id="487" r:id="rId138"/>
    <p:sldId id="494" r:id="rId139"/>
    <p:sldId id="493" r:id="rId140"/>
    <p:sldId id="488" r:id="rId141"/>
    <p:sldId id="490" r:id="rId142"/>
    <p:sldId id="489" r:id="rId143"/>
    <p:sldId id="492" r:id="rId144"/>
    <p:sldId id="451" r:id="rId145"/>
    <p:sldId id="480" r:id="rId146"/>
    <p:sldId id="479" r:id="rId147"/>
    <p:sldId id="444" r:id="rId148"/>
    <p:sldId id="458" r:id="rId149"/>
    <p:sldId id="476" r:id="rId150"/>
    <p:sldId id="477" r:id="rId151"/>
    <p:sldId id="478" r:id="rId152"/>
    <p:sldId id="537" r:id="rId153"/>
    <p:sldId id="445" r:id="rId154"/>
    <p:sldId id="535" r:id="rId155"/>
    <p:sldId id="471" r:id="rId156"/>
    <p:sldId id="456" r:id="rId157"/>
    <p:sldId id="474" r:id="rId158"/>
    <p:sldId id="462" r:id="rId159"/>
    <p:sldId id="467" r:id="rId160"/>
    <p:sldId id="468" r:id="rId161"/>
    <p:sldId id="473" r:id="rId162"/>
    <p:sldId id="463" r:id="rId163"/>
    <p:sldId id="464" r:id="rId164"/>
    <p:sldId id="536" r:id="rId165"/>
    <p:sldId id="465" r:id="rId166"/>
    <p:sldId id="481" r:id="rId167"/>
    <p:sldId id="466" r:id="rId168"/>
    <p:sldId id="469" r:id="rId169"/>
    <p:sldId id="312" r:id="rId170"/>
  </p:sldIdLst>
  <p:sldSz cx="9144000" cy="6858000" type="screen4x3"/>
  <p:notesSz cx="6794500" cy="9906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leria Bartsch" initials="VB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1E02EE"/>
    <a:srgbClr val="3B57A0"/>
    <a:srgbClr val="FF66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29" autoAdjust="0"/>
  </p:normalViewPr>
  <p:slideViewPr>
    <p:cSldViewPr snapToGrid="0" snapToObjects="1">
      <p:cViewPr varScale="1">
        <p:scale>
          <a:sx n="58" d="100"/>
          <a:sy n="58" d="100"/>
        </p:scale>
        <p:origin x="-920" y="-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3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84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openxmlformats.org/officeDocument/2006/relationships/viewProps" Target="viewProps.xml"/><Relationship Id="rId170" Type="http://schemas.openxmlformats.org/officeDocument/2006/relationships/slide" Target="slides/slide169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notesMaster" Target="notesMasters/notesMaster1.xml"/><Relationship Id="rId176" Type="http://schemas.openxmlformats.org/officeDocument/2006/relationships/theme" Target="theme/theme1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77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handoutMaster" Target="handoutMasters/handoutMaster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47.676" idx="3">
    <p:pos x="3812" y="2681"/>
    <p:text>Mirko: mention waitsome()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25.302" idx="2">
    <p:pos x="4985" y="2186"/>
    <p:text>Mirko: add a barrier() and access_data() on node2 to emphasize that the problem happens on node2 where we can not be sure about the data, even after node1 completed the wait() and the corresponding barrier()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55F8E9-D087-4B3B-B74C-FFABA64C8B29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</dgm:pt>
    <dgm:pt modelId="{4EFA7DB9-ADB2-4838-A316-F8CDD2228901}">
      <dgm:prSet phldrT="[Text]" custT="1"/>
      <dgm:spPr/>
      <dgm:t>
        <a:bodyPr/>
        <a:lstStyle/>
        <a:p>
          <a:r>
            <a:rPr lang="de-DE" sz="1800" dirty="0" smtClean="0"/>
            <a:t>GASPI </a:t>
          </a:r>
          <a:r>
            <a:rPr lang="de-DE" sz="1800" dirty="0" err="1" smtClean="0"/>
            <a:t>is</a:t>
          </a:r>
          <a:r>
            <a:rPr lang="de-DE" sz="1800" dirty="0" smtClean="0"/>
            <a:t> a</a:t>
          </a:r>
        </a:p>
        <a:p>
          <a:r>
            <a:rPr lang="de-DE" sz="1800" dirty="0" err="1" smtClean="0"/>
            <a:t>communication</a:t>
          </a:r>
          <a:r>
            <a:rPr lang="de-DE" sz="1800" dirty="0" smtClean="0"/>
            <a:t> </a:t>
          </a:r>
        </a:p>
        <a:p>
          <a:r>
            <a:rPr lang="de-DE" sz="1800" dirty="0" err="1" smtClean="0"/>
            <a:t>library</a:t>
          </a:r>
          <a:endParaRPr lang="en-US" sz="1800" dirty="0"/>
        </a:p>
      </dgm:t>
    </dgm:pt>
    <dgm:pt modelId="{F349019E-8051-411A-8BA7-7F9E203A34E3}" type="parTrans" cxnId="{B239A237-30BE-45AF-A616-89405C7C2131}">
      <dgm:prSet/>
      <dgm:spPr/>
      <dgm:t>
        <a:bodyPr/>
        <a:lstStyle/>
        <a:p>
          <a:endParaRPr lang="en-US"/>
        </a:p>
      </dgm:t>
    </dgm:pt>
    <dgm:pt modelId="{F85C72B6-DB3B-4885-844F-9196F89C08DE}" type="sibTrans" cxnId="{B239A237-30BE-45AF-A616-89405C7C2131}">
      <dgm:prSet/>
      <dgm:spPr>
        <a:noFill/>
      </dgm:spPr>
      <dgm:t>
        <a:bodyPr/>
        <a:lstStyle/>
        <a:p>
          <a:endParaRPr lang="en-US"/>
        </a:p>
      </dgm:t>
    </dgm:pt>
    <dgm:pt modelId="{535FA7B6-77B3-4A58-9DA9-E6FBF73F8DC9}">
      <dgm:prSet phldrT="[Text]" custT="1"/>
      <dgm:spPr/>
      <dgm:t>
        <a:bodyPr/>
        <a:lstStyle/>
        <a:p>
          <a:r>
            <a:rPr lang="de-DE" sz="1800" dirty="0" err="1" smtClean="0"/>
            <a:t>What</a:t>
          </a:r>
          <a:r>
            <a:rPr lang="de-DE" sz="1800" dirty="0" smtClean="0"/>
            <a:t> </a:t>
          </a:r>
          <a:r>
            <a:rPr lang="de-DE" sz="1800" dirty="0" err="1" smtClean="0"/>
            <a:t>is</a:t>
          </a:r>
          <a:r>
            <a:rPr lang="de-DE" sz="1800" dirty="0" smtClean="0"/>
            <a:t> </a:t>
          </a:r>
          <a:r>
            <a:rPr lang="de-DE" sz="1800" dirty="0" err="1" smtClean="0"/>
            <a:t>communi-cation</a:t>
          </a:r>
          <a:r>
            <a:rPr lang="de-DE" sz="1800" dirty="0" smtClean="0"/>
            <a:t>?</a:t>
          </a:r>
          <a:endParaRPr lang="en-US" sz="1800" dirty="0"/>
        </a:p>
      </dgm:t>
    </dgm:pt>
    <dgm:pt modelId="{268C2C52-2860-4B4F-B65E-A63A3C03CA8C}" type="parTrans" cxnId="{75B3C8A4-7B8A-4B2A-AFE1-94E59A8368CB}">
      <dgm:prSet/>
      <dgm:spPr/>
      <dgm:t>
        <a:bodyPr/>
        <a:lstStyle/>
        <a:p>
          <a:endParaRPr lang="en-US"/>
        </a:p>
      </dgm:t>
    </dgm:pt>
    <dgm:pt modelId="{841506AB-5750-49F9-B50A-6E00F39A3B52}" type="sibTrans" cxnId="{75B3C8A4-7B8A-4B2A-AFE1-94E59A8368CB}">
      <dgm:prSet/>
      <dgm:spPr>
        <a:noFill/>
      </dgm:spPr>
      <dgm:t>
        <a:bodyPr/>
        <a:lstStyle/>
        <a:p>
          <a:endParaRPr lang="en-US"/>
        </a:p>
      </dgm:t>
    </dgm:pt>
    <dgm:pt modelId="{C02A3239-EE34-4534-AE4B-03D224BC1B37}" type="pres">
      <dgm:prSet presAssocID="{2055F8E9-D087-4B3B-B74C-FFABA64C8B2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CF13EFC-7F34-4DB7-B789-F0CFAAFD310F}" type="pres">
      <dgm:prSet presAssocID="{4EFA7DB9-ADB2-4838-A316-F8CDD2228901}" presName="gear1" presStyleLbl="node1" presStyleIdx="0" presStyleCnt="2" custScaleX="109304" custScaleY="111890" custLinFactX="-51178" custLinFactNeighborX="-100000" custLinFactNeighborY="-5055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310E0-8E8E-4576-B615-9AAADCDACE4F}" type="pres">
      <dgm:prSet presAssocID="{4EFA7DB9-ADB2-4838-A316-F8CDD2228901}" presName="gear1srcNode" presStyleLbl="node1" presStyleIdx="0" presStyleCnt="2"/>
      <dgm:spPr/>
      <dgm:t>
        <a:bodyPr/>
        <a:lstStyle/>
        <a:p>
          <a:endParaRPr lang="en-US"/>
        </a:p>
      </dgm:t>
    </dgm:pt>
    <dgm:pt modelId="{223DDAD1-860D-4A84-A64B-3DA98EDA6A3E}" type="pres">
      <dgm:prSet presAssocID="{4EFA7DB9-ADB2-4838-A316-F8CDD2228901}" presName="gear1dstNode" presStyleLbl="node1" presStyleIdx="0" presStyleCnt="2"/>
      <dgm:spPr/>
      <dgm:t>
        <a:bodyPr/>
        <a:lstStyle/>
        <a:p>
          <a:endParaRPr lang="en-US"/>
        </a:p>
      </dgm:t>
    </dgm:pt>
    <dgm:pt modelId="{2067F530-C9FB-4AFB-9D81-B3DE00F1B942}" type="pres">
      <dgm:prSet presAssocID="{535FA7B6-77B3-4A58-9DA9-E6FBF73F8DC9}" presName="gear2" presStyleLbl="node1" presStyleIdx="1" presStyleCnt="2" custScaleX="134656" custScaleY="129298" custLinFactNeighborX="14563" custLinFactNeighborY="241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952032-05B6-49D7-BEBE-957C96A697B5}" type="pres">
      <dgm:prSet presAssocID="{535FA7B6-77B3-4A58-9DA9-E6FBF73F8DC9}" presName="gear2srcNode" presStyleLbl="node1" presStyleIdx="1" presStyleCnt="2"/>
      <dgm:spPr/>
      <dgm:t>
        <a:bodyPr/>
        <a:lstStyle/>
        <a:p>
          <a:endParaRPr lang="en-US"/>
        </a:p>
      </dgm:t>
    </dgm:pt>
    <dgm:pt modelId="{A0BAB515-E2DC-4C74-9700-F29E81CE776A}" type="pres">
      <dgm:prSet presAssocID="{535FA7B6-77B3-4A58-9DA9-E6FBF73F8DC9}" presName="gear2dstNode" presStyleLbl="node1" presStyleIdx="1" presStyleCnt="2"/>
      <dgm:spPr/>
      <dgm:t>
        <a:bodyPr/>
        <a:lstStyle/>
        <a:p>
          <a:endParaRPr lang="en-US"/>
        </a:p>
      </dgm:t>
    </dgm:pt>
    <dgm:pt modelId="{43509BD7-7F48-466A-B552-2980E5D5DD23}" type="pres">
      <dgm:prSet presAssocID="{F85C72B6-DB3B-4885-844F-9196F89C08DE}" presName="connector1" presStyleLbl="sibTrans2D1" presStyleIdx="0" presStyleCnt="2" custLinFactNeighborX="49507" custLinFactNeighborY="18410"/>
      <dgm:spPr/>
      <dgm:t>
        <a:bodyPr/>
        <a:lstStyle/>
        <a:p>
          <a:endParaRPr lang="en-US"/>
        </a:p>
      </dgm:t>
    </dgm:pt>
    <dgm:pt modelId="{ED196127-652E-4BED-8A34-5C5D98861C78}" type="pres">
      <dgm:prSet presAssocID="{841506AB-5750-49F9-B50A-6E00F39A3B52}" presName="connector2" presStyleLbl="sibTrans2D1" presStyleIdx="1" presStyleCnt="2"/>
      <dgm:spPr/>
      <dgm:t>
        <a:bodyPr/>
        <a:lstStyle/>
        <a:p>
          <a:endParaRPr lang="en-US"/>
        </a:p>
      </dgm:t>
    </dgm:pt>
  </dgm:ptLst>
  <dgm:cxnLst>
    <dgm:cxn modelId="{234232AE-23D6-46D3-BE2C-D5E8232767A6}" type="presOf" srcId="{4EFA7DB9-ADB2-4838-A316-F8CDD2228901}" destId="{085310E0-8E8E-4576-B615-9AAADCDACE4F}" srcOrd="1" destOrd="0" presId="urn:microsoft.com/office/officeart/2005/8/layout/gear1"/>
    <dgm:cxn modelId="{FF82162C-E183-41D0-8CF2-AFD91809560F}" type="presOf" srcId="{535FA7B6-77B3-4A58-9DA9-E6FBF73F8DC9}" destId="{2067F530-C9FB-4AFB-9D81-B3DE00F1B942}" srcOrd="0" destOrd="0" presId="urn:microsoft.com/office/officeart/2005/8/layout/gear1"/>
    <dgm:cxn modelId="{E1528790-511B-45E8-B5B1-B4F4FD036760}" type="presOf" srcId="{535FA7B6-77B3-4A58-9DA9-E6FBF73F8DC9}" destId="{41952032-05B6-49D7-BEBE-957C96A697B5}" srcOrd="1" destOrd="0" presId="urn:microsoft.com/office/officeart/2005/8/layout/gear1"/>
    <dgm:cxn modelId="{D9E7CD06-1CF7-42F5-B100-E76F94F50DB2}" type="presOf" srcId="{4EFA7DB9-ADB2-4838-A316-F8CDD2228901}" destId="{3CF13EFC-7F34-4DB7-B789-F0CFAAFD310F}" srcOrd="0" destOrd="0" presId="urn:microsoft.com/office/officeart/2005/8/layout/gear1"/>
    <dgm:cxn modelId="{81A38FDC-0818-4C10-A860-F2881BD18777}" type="presOf" srcId="{2055F8E9-D087-4B3B-B74C-FFABA64C8B29}" destId="{C02A3239-EE34-4534-AE4B-03D224BC1B37}" srcOrd="0" destOrd="0" presId="urn:microsoft.com/office/officeart/2005/8/layout/gear1"/>
    <dgm:cxn modelId="{75B3C8A4-7B8A-4B2A-AFE1-94E59A8368CB}" srcId="{2055F8E9-D087-4B3B-B74C-FFABA64C8B29}" destId="{535FA7B6-77B3-4A58-9DA9-E6FBF73F8DC9}" srcOrd="1" destOrd="0" parTransId="{268C2C52-2860-4B4F-B65E-A63A3C03CA8C}" sibTransId="{841506AB-5750-49F9-B50A-6E00F39A3B52}"/>
    <dgm:cxn modelId="{9E77B8C7-148F-4CF5-8214-72DEAD8A88DF}" type="presOf" srcId="{841506AB-5750-49F9-B50A-6E00F39A3B52}" destId="{ED196127-652E-4BED-8A34-5C5D98861C78}" srcOrd="0" destOrd="0" presId="urn:microsoft.com/office/officeart/2005/8/layout/gear1"/>
    <dgm:cxn modelId="{22FB100C-01CE-4F29-9AA3-97B56CF6F3DF}" type="presOf" srcId="{4EFA7DB9-ADB2-4838-A316-F8CDD2228901}" destId="{223DDAD1-860D-4A84-A64B-3DA98EDA6A3E}" srcOrd="2" destOrd="0" presId="urn:microsoft.com/office/officeart/2005/8/layout/gear1"/>
    <dgm:cxn modelId="{B239A237-30BE-45AF-A616-89405C7C2131}" srcId="{2055F8E9-D087-4B3B-B74C-FFABA64C8B29}" destId="{4EFA7DB9-ADB2-4838-A316-F8CDD2228901}" srcOrd="0" destOrd="0" parTransId="{F349019E-8051-411A-8BA7-7F9E203A34E3}" sibTransId="{F85C72B6-DB3B-4885-844F-9196F89C08DE}"/>
    <dgm:cxn modelId="{1FBC36CE-4587-4D47-AB37-F9B49402A013}" type="presOf" srcId="{F85C72B6-DB3B-4885-844F-9196F89C08DE}" destId="{43509BD7-7F48-466A-B552-2980E5D5DD23}" srcOrd="0" destOrd="0" presId="urn:microsoft.com/office/officeart/2005/8/layout/gear1"/>
    <dgm:cxn modelId="{49DF70AA-76E4-48DE-A078-73B113A141D2}" type="presOf" srcId="{535FA7B6-77B3-4A58-9DA9-E6FBF73F8DC9}" destId="{A0BAB515-E2DC-4C74-9700-F29E81CE776A}" srcOrd="2" destOrd="0" presId="urn:microsoft.com/office/officeart/2005/8/layout/gear1"/>
    <dgm:cxn modelId="{AEB45677-44DC-48C6-8E0D-B367872555C3}" type="presParOf" srcId="{C02A3239-EE34-4534-AE4B-03D224BC1B37}" destId="{3CF13EFC-7F34-4DB7-B789-F0CFAAFD310F}" srcOrd="0" destOrd="0" presId="urn:microsoft.com/office/officeart/2005/8/layout/gear1"/>
    <dgm:cxn modelId="{DD4CBF0C-6C2C-4ADF-9FE3-AAFA680ED8B6}" type="presParOf" srcId="{C02A3239-EE34-4534-AE4B-03D224BC1B37}" destId="{085310E0-8E8E-4576-B615-9AAADCDACE4F}" srcOrd="1" destOrd="0" presId="urn:microsoft.com/office/officeart/2005/8/layout/gear1"/>
    <dgm:cxn modelId="{3396E776-7177-497D-9F51-BC0496ADB73D}" type="presParOf" srcId="{C02A3239-EE34-4534-AE4B-03D224BC1B37}" destId="{223DDAD1-860D-4A84-A64B-3DA98EDA6A3E}" srcOrd="2" destOrd="0" presId="urn:microsoft.com/office/officeart/2005/8/layout/gear1"/>
    <dgm:cxn modelId="{1832A18A-E5A9-4DFA-952E-233BA6A32214}" type="presParOf" srcId="{C02A3239-EE34-4534-AE4B-03D224BC1B37}" destId="{2067F530-C9FB-4AFB-9D81-B3DE00F1B942}" srcOrd="3" destOrd="0" presId="urn:microsoft.com/office/officeart/2005/8/layout/gear1"/>
    <dgm:cxn modelId="{8F5ADDE7-D379-45AC-8A17-6749E1EC3D62}" type="presParOf" srcId="{C02A3239-EE34-4534-AE4B-03D224BC1B37}" destId="{41952032-05B6-49D7-BEBE-957C96A697B5}" srcOrd="4" destOrd="0" presId="urn:microsoft.com/office/officeart/2005/8/layout/gear1"/>
    <dgm:cxn modelId="{1338B2D2-575F-4A27-ACC9-CF690F14E6BC}" type="presParOf" srcId="{C02A3239-EE34-4534-AE4B-03D224BC1B37}" destId="{A0BAB515-E2DC-4C74-9700-F29E81CE776A}" srcOrd="5" destOrd="0" presId="urn:microsoft.com/office/officeart/2005/8/layout/gear1"/>
    <dgm:cxn modelId="{8C940C5A-30FE-4D32-BC79-24A21DF9B213}" type="presParOf" srcId="{C02A3239-EE34-4534-AE4B-03D224BC1B37}" destId="{43509BD7-7F48-466A-B552-2980E5D5DD23}" srcOrd="6" destOrd="0" presId="urn:microsoft.com/office/officeart/2005/8/layout/gear1"/>
    <dgm:cxn modelId="{3D1F77D0-3F7A-4322-A490-CDE6B5961513}" type="presParOf" srcId="{C02A3239-EE34-4534-AE4B-03D224BC1B37}" destId="{ED196127-652E-4BED-8A34-5C5D98861C7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F13EFC-7F34-4DB7-B789-F0CFAAFD310F}">
      <dsp:nvSpPr>
        <dsp:cNvPr id="0" name=""/>
        <dsp:cNvSpPr/>
      </dsp:nvSpPr>
      <dsp:spPr>
        <a:xfrm>
          <a:off x="0" y="106351"/>
          <a:ext cx="2792458" cy="2858525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GASPI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a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communication</a:t>
          </a:r>
          <a:r>
            <a:rPr lang="de-DE" sz="1800" kern="1200" dirty="0" smtClean="0"/>
            <a:t>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library</a:t>
          </a:r>
          <a:endParaRPr lang="en-US" sz="1800" kern="1200" dirty="0"/>
        </a:p>
      </dsp:txBody>
      <dsp:txXfrm>
        <a:off x="0" y="106351"/>
        <a:ext cx="2792458" cy="2858525"/>
      </dsp:txXfrm>
    </dsp:sp>
    <dsp:sp modelId="{2067F530-C9FB-4AFB-9D81-B3DE00F1B942}">
      <dsp:nvSpPr>
        <dsp:cNvPr id="0" name=""/>
        <dsp:cNvSpPr/>
      </dsp:nvSpPr>
      <dsp:spPr>
        <a:xfrm>
          <a:off x="2443299" y="1121565"/>
          <a:ext cx="2501921" cy="240236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What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communi-cation</a:t>
          </a:r>
          <a:r>
            <a:rPr lang="de-DE" sz="1800" kern="1200" dirty="0" smtClean="0"/>
            <a:t>?</a:t>
          </a:r>
          <a:endParaRPr lang="en-US" sz="1800" kern="1200" dirty="0"/>
        </a:p>
      </dsp:txBody>
      <dsp:txXfrm>
        <a:off x="2443299" y="1121565"/>
        <a:ext cx="2501921" cy="2402369"/>
      </dsp:txXfrm>
    </dsp:sp>
    <dsp:sp modelId="{43509BD7-7F48-466A-B552-2980E5D5DD23}">
      <dsp:nvSpPr>
        <dsp:cNvPr id="0" name=""/>
        <dsp:cNvSpPr/>
      </dsp:nvSpPr>
      <dsp:spPr>
        <a:xfrm>
          <a:off x="5667715" y="1686266"/>
          <a:ext cx="3142359" cy="3142359"/>
        </a:xfrm>
        <a:prstGeom prst="circularArrow">
          <a:avLst>
            <a:gd name="adj1" fmla="val 4878"/>
            <a:gd name="adj2" fmla="val 312630"/>
            <a:gd name="adj3" fmla="val 3175622"/>
            <a:gd name="adj4" fmla="val 15177054"/>
            <a:gd name="adj5" fmla="val 5691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196127-652E-4BED-8A34-5C5D98861C78}">
      <dsp:nvSpPr>
        <dsp:cNvPr id="0" name=""/>
        <dsp:cNvSpPr/>
      </dsp:nvSpPr>
      <dsp:spPr>
        <a:xfrm>
          <a:off x="2165623" y="532923"/>
          <a:ext cx="2375930" cy="237593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58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90D75-D30E-453F-AA48-A574EF308789}" type="datetimeFigureOut">
              <a:rPr lang="en-US" smtClean="0"/>
              <a:pPr/>
              <a:t>2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58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37D1F-3838-4E2D-B67A-EE2446F2976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90358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495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r">
              <a:defRPr sz="1100"/>
            </a:lvl1pPr>
          </a:lstStyle>
          <a:p>
            <a:fld id="{9E0F56CF-FAC5-4F55-A09A-61CEA104A594}" type="datetimeFigureOut">
              <a:rPr lang="en-US" smtClean="0"/>
              <a:pPr/>
              <a:t>2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2950"/>
            <a:ext cx="4949825" cy="3713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816" tIns="42908" rIns="85816" bIns="429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147" y="4704850"/>
            <a:ext cx="5436208" cy="4457470"/>
          </a:xfrm>
          <a:prstGeom prst="rect">
            <a:avLst/>
          </a:prstGeom>
        </p:spPr>
        <p:txBody>
          <a:bodyPr vert="horz" lIns="85816" tIns="42908" rIns="85816" bIns="4290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495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r">
              <a:defRPr sz="1100"/>
            </a:lvl1pPr>
          </a:lstStyle>
          <a:p>
            <a:fld id="{122FB457-248A-4277-91D6-B45A4B98BDC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3992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37552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12254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77910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23.11.200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EE422C16-6F28-4028-BC6A-E64B6BD41D05}" type="slidenum">
              <a:rPr lang="de-DE">
                <a:solidFill>
                  <a:prstClr val="black"/>
                </a:solidFill>
              </a:rPr>
              <a:pPr/>
              <a:t>168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–streng vertraulich, vertraulich, intern, öffentlich–                         Autor / Thema der Präsentation</a:t>
            </a:r>
          </a:p>
        </p:txBody>
      </p:sp>
      <p:sp>
        <p:nvSpPr>
          <p:cNvPr id="90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46650" cy="3711575"/>
          </a:xfrm>
          <a:ln/>
        </p:spPr>
      </p:sp>
      <p:sp>
        <p:nvSpPr>
          <p:cNvPr id="909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18" y="4704321"/>
            <a:ext cx="4983065" cy="4457225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3B57A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98CFB-603D-464F-BE25-0A8C29EA7302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4F7B-E01E-4193-8C6E-51F19D5FF4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38550-D3FF-476F-B721-1B1F997B6315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41A67-D587-47BF-AE26-4F9E7A8B9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083426"/>
            <a:ext cx="2057400" cy="5042737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083426"/>
            <a:ext cx="6019800" cy="5042737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0CB59-A49F-4BD3-8045-BB75FBDAD570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14BA0-5F80-4981-AB08-62C5670926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  <a:latin typeface="+mn-lt"/>
              </a:defRPr>
            </a:lvl1pPr>
            <a:lvl2pPr>
              <a:defRPr>
                <a:solidFill>
                  <a:srgbClr val="3B57A0"/>
                </a:solidFill>
                <a:latin typeface="+mn-lt"/>
              </a:defRPr>
            </a:lvl2pPr>
            <a:lvl3pPr>
              <a:defRPr>
                <a:solidFill>
                  <a:srgbClr val="3B57A0"/>
                </a:solidFill>
                <a:latin typeface="+mn-lt"/>
              </a:defRPr>
            </a:lvl3pPr>
            <a:lvl4pPr>
              <a:defRPr>
                <a:solidFill>
                  <a:srgbClr val="3B57A0"/>
                </a:solidFill>
                <a:latin typeface="+mn-lt"/>
              </a:defRPr>
            </a:lvl4pPr>
            <a:lvl5pPr>
              <a:defRPr>
                <a:solidFill>
                  <a:srgbClr val="3B57A0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BE947-7B4A-49F6-839B-8564117C7917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A7815-98F8-4E4F-BD74-9B050C17A6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B57A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57D69-5CC3-4B63-83C0-C005C7C90578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0FB91-D219-4D10-964D-E27C14EF909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18F41-C13A-4A48-A7A5-AC46787D299F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74FB0-5069-4765-BA57-42043A8B71D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94782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334545"/>
            <a:ext cx="4040188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694782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34545"/>
            <a:ext cx="4041775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FD512-229B-4E69-9E0B-4E5E98DDF6DD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9C8D9-8B6E-4348-9E13-8915F6460E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62DA1-2CBE-47AC-BDC9-48DB06A717A2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6A390-D1CB-48F1-A035-3AFED9D331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4F2F4-7A93-4E69-8AB0-BAF698B3406C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CEA8-91F8-4315-9FCF-28CCCA3423E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87745"/>
            <a:ext cx="3008313" cy="134320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530955"/>
            <a:ext cx="3008313" cy="3595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EDC88-123D-41E5-9C95-733E571968BB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2A5B-59CD-4B85-96B9-B243F399E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6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76600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76600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1E568-84E4-427D-AB5A-2C69D7ECB834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EBDA9-0D08-4C79-AA62-6349AE6B07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6" descr="ppt_bg.jpg"/>
          <p:cNvPicPr>
            <a:picLocks noChangeAspect="1"/>
          </p:cNvPicPr>
          <p:nvPr/>
        </p:nvPicPr>
        <p:blipFill>
          <a:blip r:embed="rId13">
            <a:lum contrast="8000"/>
          </a:blip>
          <a:srcRect t="17046"/>
          <a:stretch>
            <a:fillRect/>
          </a:stretch>
        </p:blipFill>
        <p:spPr bwMode="auto">
          <a:xfrm>
            <a:off x="0" y="1111250"/>
            <a:ext cx="9144000" cy="541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Bild 6" descr="ppt_bg.jpg"/>
          <p:cNvPicPr>
            <a:picLocks noChangeAspect="1"/>
          </p:cNvPicPr>
          <p:nvPr/>
        </p:nvPicPr>
        <p:blipFill>
          <a:blip r:embed="rId13"/>
          <a:srcRect b="82954"/>
          <a:stretch>
            <a:fillRect/>
          </a:stretch>
        </p:blipFill>
        <p:spPr bwMode="auto">
          <a:xfrm>
            <a:off x="0" y="0"/>
            <a:ext cx="9144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95522-D5CF-43A1-94B3-6C34D3CF18E9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118B54-50B8-4121-B493-684ACAF6F4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rgbClr val="3B57A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3B57A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3B57A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3B57A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B57A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3B57A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wmf"/><Relationship Id="rId1" Type="http://schemas.openxmlformats.org/officeDocument/2006/relationships/slideLayout" Target="../slideLayouts/slideLayout4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8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wmf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wmf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w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wmf"/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wmf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wmf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wmf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wmf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wmf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w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wmf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8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wmf"/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wmf"/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wmf"/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wmf"/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wmf"/><Relationship Id="rId1" Type="http://schemas.openxmlformats.org/officeDocument/2006/relationships/slideLayout" Target="../slideLayouts/slideLayout8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wmf"/><Relationship Id="rId1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5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rveymonkey.co.uk/r/RPH2333" TargetMode="External"/><Relationship Id="rId2" Type="http://schemas.openxmlformats.org/officeDocument/2006/relationships/hyperlink" Target="https://www.surveymonkey.co.uk/r/8P7QTC2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w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wmf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wmf"/><Relationship Id="rId2" Type="http://schemas.openxmlformats.org/officeDocument/2006/relationships/image" Target="../media/image60.w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wmf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Tutorial</a:t>
            </a:r>
          </a:p>
        </p:txBody>
      </p:sp>
      <p:sp>
        <p:nvSpPr>
          <p:cNvPr id="13314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de-DE" sz="2800" dirty="0" smtClean="0"/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Christian Simmendinger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Mirko Rahn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Daniel Grünewald</a:t>
            </a:r>
          </a:p>
        </p:txBody>
      </p:sp>
      <p:sp>
        <p:nvSpPr>
          <p:cNvPr id="4" name="Rectangle 3"/>
          <p:cNvSpPr/>
          <p:nvPr/>
        </p:nvSpPr>
        <p:spPr>
          <a:xfrm>
            <a:off x="4356915" y="5459731"/>
            <a:ext cx="379681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ct val="20000"/>
              </a:spcBef>
            </a:pPr>
            <a:r>
              <a:rPr lang="de-DE" sz="1400" dirty="0" err="1" smtClean="0">
                <a:solidFill>
                  <a:srgbClr val="3B57A0"/>
                </a:solidFill>
                <a:latin typeface="Calibri"/>
                <a:cs typeface="+mn-cs"/>
              </a:rPr>
              <a:t>Sponsored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en-US" sz="1400" dirty="0" smtClean="0">
                <a:solidFill>
                  <a:srgbClr val="3B57A0"/>
                </a:solidFill>
                <a:latin typeface="Calibri"/>
                <a:cs typeface="+mn-cs"/>
              </a:rPr>
              <a:t>by the European </a:t>
            </a:r>
            <a:r>
              <a:rPr lang="en-US" sz="1400" dirty="0">
                <a:solidFill>
                  <a:srgbClr val="3B57A0"/>
                </a:solidFill>
                <a:latin typeface="Calibri"/>
                <a:cs typeface="+mn-cs"/>
              </a:rPr>
              <a:t>Commission through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</a:p>
        </p:txBody>
      </p:sp>
      <p:pic>
        <p:nvPicPr>
          <p:cNvPr id="1026" name="Picture 2" descr="C:\Users\bartschv\AppData\Local\Temp\3\7zEE08E.tmp\EPiGRAM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7582" y="6040662"/>
            <a:ext cx="1358489" cy="4362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artschv\AppData\Local\Temp\3\7zE121A.tmp\eur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3054" y="6040662"/>
            <a:ext cx="656985" cy="436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H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81" y="5838491"/>
            <a:ext cx="792835" cy="769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mbeckett\OneDrive\Documents\intertwine\documents\logos\intertwine\INTERTWinE_logo_RGB_small.jpg"/>
          <p:cNvPicPr/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8553" y="5768644"/>
            <a:ext cx="1079817" cy="930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at a </a:t>
            </a:r>
            <a:r>
              <a:rPr lang="de-DE" dirty="0" err="1" smtClean="0"/>
              <a:t>Glanc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2118865"/>
            <a:ext cx="4369777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Features: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G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lobal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partition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ddres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pa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synchronou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one-sid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ion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Threadsave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very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hrea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an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Supports fault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oleran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Open Source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tandardiz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API (GASPI)</a:t>
            </a:r>
          </a:p>
        </p:txBody>
      </p:sp>
      <p:sp>
        <p:nvSpPr>
          <p:cNvPr id="7" name="Rectangle 6"/>
          <p:cNvSpPr/>
          <p:nvPr/>
        </p:nvSpPr>
        <p:spPr>
          <a:xfrm>
            <a:off x="4357015" y="5979227"/>
            <a:ext cx="4572000" cy="584775"/>
          </a:xfrm>
          <a:prstGeom prst="rect">
            <a:avLst/>
          </a:prstGeom>
          <a:solidFill>
            <a:schemeClr val="tx2"/>
          </a:solidFill>
        </p:spPr>
        <p:txBody>
          <a:bodyPr>
            <a:spAutoFit/>
          </a:bodyPr>
          <a:lstStyle/>
          <a:p>
            <a:pPr marL="1588" lvl="1"/>
            <a:r>
              <a:rPr lang="de-DE" altLang="en-US" sz="1600" dirty="0" err="1" smtClean="0">
                <a:solidFill>
                  <a:prstClr val="white"/>
                </a:solidFill>
              </a:rPr>
              <a:t>Infiniband</a:t>
            </a:r>
            <a:r>
              <a:rPr lang="de-DE" altLang="en-US" sz="1600" dirty="0" smtClean="0">
                <a:solidFill>
                  <a:prstClr val="white"/>
                </a:solidFill>
              </a:rPr>
              <a:t>, Cray, Ethernet, GPUs, Intel Xeon Phi, Open Source (GPL) , </a:t>
            </a:r>
            <a:r>
              <a:rPr lang="de-DE" altLang="en-US" sz="1600" dirty="0" err="1" smtClean="0">
                <a:solidFill>
                  <a:prstClr val="white"/>
                </a:solidFill>
              </a:rPr>
              <a:t>standardized</a:t>
            </a:r>
            <a:r>
              <a:rPr lang="de-DE" altLang="en-US" sz="1600" dirty="0" smtClean="0">
                <a:solidFill>
                  <a:prstClr val="white"/>
                </a:solidFill>
              </a:rPr>
              <a:t> API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339" y="2339650"/>
            <a:ext cx="4149015" cy="3111761"/>
          </a:xfrm>
          <a:prstGeom prst="rect">
            <a:avLst/>
          </a:prstGeom>
        </p:spPr>
      </p:pic>
      <p:sp>
        <p:nvSpPr>
          <p:cNvPr id="9" name="Textfeld 19"/>
          <p:cNvSpPr txBox="1"/>
          <p:nvPr/>
        </p:nvSpPr>
        <p:spPr>
          <a:xfrm>
            <a:off x="7134780" y="3898922"/>
            <a:ext cx="14510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ested</a:t>
            </a:r>
            <a:r>
              <a:rPr lang="de-DE" sz="1600" dirty="0"/>
              <a:t> on </a:t>
            </a:r>
            <a:r>
              <a:rPr lang="de-DE" sz="1600" dirty="0" err="1"/>
              <a:t>up</a:t>
            </a:r>
            <a:r>
              <a:rPr lang="de-DE" sz="1600" dirty="0"/>
              <a:t> </a:t>
            </a:r>
            <a:endParaRPr lang="de-DE" sz="1600" dirty="0" smtClean="0"/>
          </a:p>
          <a:p>
            <a:r>
              <a:rPr lang="de-DE" sz="1600" dirty="0" err="1"/>
              <a:t>t</a:t>
            </a:r>
            <a:r>
              <a:rPr lang="de-DE" sz="1600" dirty="0" err="1" smtClean="0"/>
              <a:t>o</a:t>
            </a:r>
            <a:r>
              <a:rPr lang="de-DE" sz="1600" dirty="0" smtClean="0"/>
              <a:t> 65k </a:t>
            </a:r>
            <a:r>
              <a:rPr lang="de-DE" sz="1600" dirty="0" err="1"/>
              <a:t>cores</a:t>
            </a:r>
            <a:r>
              <a:rPr lang="de-DE" sz="1600" dirty="0"/>
              <a:t>!</a:t>
            </a:r>
          </a:p>
        </p:txBody>
      </p:sp>
    </p:spTree>
    <p:extLst>
      <p:ext uri="{BB962C8B-B14F-4D97-AF65-F5344CB8AC3E}">
        <p14:creationId xmlns="" xmlns:p14="http://schemas.microsoft.com/office/powerpoint/2010/main" val="127450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355874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P</a:t>
            </a:r>
            <a:r>
              <a:rPr lang="de-DE" dirty="0" err="1" smtClean="0"/>
              <a:t>reserv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MPI </a:t>
            </a:r>
            <a:r>
              <a:rPr lang="de-DE" dirty="0"/>
              <a:t>R</a:t>
            </a:r>
            <a:r>
              <a:rPr lang="de-DE" dirty="0" smtClean="0"/>
              <a:t>anks 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029097"/>
            <a:ext cx="3801291" cy="4171407"/>
          </a:xfrm>
        </p:spPr>
        <p:txBody>
          <a:bodyPr/>
          <a:lstStyle/>
          <a:p>
            <a:r>
              <a:rPr lang="en-US" sz="2400" dirty="0" smtClean="0"/>
              <a:t>GASPI </a:t>
            </a:r>
            <a:r>
              <a:rPr lang="en-US" sz="2400" dirty="0"/>
              <a:t>is able to detect at runtime the MPI environment and to setup its own environment based on </a:t>
            </a:r>
            <a:r>
              <a:rPr lang="en-US" sz="2400" dirty="0" smtClean="0"/>
              <a:t>this</a:t>
            </a:r>
          </a:p>
          <a:p>
            <a:r>
              <a:rPr lang="en-US" sz="2400" dirty="0" smtClean="0"/>
              <a:t>GASPI </a:t>
            </a:r>
            <a:r>
              <a:rPr lang="en-US" sz="2400" dirty="0"/>
              <a:t>can deliver the </a:t>
            </a:r>
            <a:r>
              <a:rPr lang="en-US" sz="2400" dirty="0" smtClean="0"/>
              <a:t>same information </a:t>
            </a:r>
            <a:r>
              <a:rPr lang="en-US" sz="2400" dirty="0"/>
              <a:t>about </a:t>
            </a:r>
            <a:r>
              <a:rPr lang="en-US" sz="2400" dirty="0" smtClean="0"/>
              <a:t>ranks and </a:t>
            </a:r>
            <a:r>
              <a:rPr lang="en-US" sz="2400" dirty="0"/>
              <a:t>number of </a:t>
            </a:r>
            <a:r>
              <a:rPr lang="en-US" sz="2400" dirty="0" smtClean="0"/>
              <a:t>processes </a:t>
            </a:r>
            <a:r>
              <a:rPr lang="en-US" sz="2400" dirty="0"/>
              <a:t>as </a:t>
            </a:r>
            <a:r>
              <a:rPr lang="en-US" sz="2400" dirty="0" smtClean="0"/>
              <a:t>MPI</a:t>
            </a:r>
          </a:p>
          <a:p>
            <a:r>
              <a:rPr lang="en-US" sz="2400" dirty="0" smtClean="0"/>
              <a:t>This  helps to preserve </a:t>
            </a:r>
            <a:r>
              <a:rPr lang="en-US" sz="2400" dirty="0"/>
              <a:t> </a:t>
            </a:r>
            <a:r>
              <a:rPr lang="en-US" sz="2400" dirty="0" smtClean="0"/>
              <a:t> the application logic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066904" y="2177142"/>
            <a:ext cx="5007428" cy="402336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GASPI_BLOC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938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77" y="1054509"/>
            <a:ext cx="8229600" cy="990600"/>
          </a:xfrm>
        </p:spPr>
        <p:txBody>
          <a:bodyPr/>
          <a:lstStyle/>
          <a:p>
            <a:pPr lvl="1"/>
            <a:r>
              <a:rPr lang="en-GB" dirty="0" smtClean="0"/>
              <a:t>Using User </a:t>
            </a:r>
            <a:r>
              <a:rPr lang="en-GB" dirty="0"/>
              <a:t>P</a:t>
            </a:r>
            <a:r>
              <a:rPr lang="en-GB" dirty="0" smtClean="0"/>
              <a:t>rovided </a:t>
            </a:r>
            <a:br>
              <a:rPr lang="en-GB" dirty="0" smtClean="0"/>
            </a:br>
            <a:r>
              <a:rPr lang="en-GB" dirty="0" smtClean="0"/>
              <a:t>Memory for Segments </a:t>
            </a:r>
            <a:endParaRPr lang="de-DE" dirty="0"/>
          </a:p>
        </p:txBody>
      </p:sp>
      <p:sp>
        <p:nvSpPr>
          <p:cNvPr id="13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4415246" y="2281023"/>
            <a:ext cx="4506686" cy="444634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uble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all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m_elements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					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0;</a:t>
            </a:r>
          </a:p>
          <a:p>
            <a:pPr marL="0" indent="0">
              <a:buNone/>
            </a:pP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nderlying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uppor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egment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use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GROUP_ALL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BLOCK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0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357051" y="2281023"/>
            <a:ext cx="4058195" cy="4297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New feature added in version 1.3 of GASPI: </a:t>
            </a:r>
            <a:r>
              <a:rPr lang="en-GB" sz="2400" dirty="0" smtClean="0"/>
              <a:t>a </a:t>
            </a:r>
            <a:r>
              <a:rPr lang="en-GB" sz="2400" dirty="0"/>
              <a:t>user </a:t>
            </a:r>
            <a:r>
              <a:rPr lang="en-GB" sz="2400" dirty="0" smtClean="0"/>
              <a:t>may </a:t>
            </a:r>
            <a:r>
              <a:rPr lang="en-GB" sz="2400" dirty="0"/>
              <a:t>provide already allocated memory for </a:t>
            </a:r>
            <a:r>
              <a:rPr lang="en-GB" sz="2400" dirty="0" smtClean="0"/>
              <a:t>segments</a:t>
            </a:r>
            <a:endParaRPr lang="en-US" sz="2400" dirty="0" smtClean="0"/>
          </a:p>
          <a:p>
            <a:pPr marL="0" indent="-400050"/>
            <a:r>
              <a:rPr lang="en-US" sz="2400" dirty="0"/>
              <a:t>M</a:t>
            </a:r>
            <a:r>
              <a:rPr lang="en-US" sz="2400" dirty="0" smtClean="0"/>
              <a:t>emory used in MPI communication can be used in GASPI communication</a:t>
            </a:r>
          </a:p>
          <a:p>
            <a:pPr marL="0" indent="-400050"/>
            <a:r>
              <a:rPr lang="en-US" sz="2400" dirty="0" smtClean="0"/>
              <a:t>However, the feature should be used with care because the segment creation is an expensive operation</a:t>
            </a:r>
          </a:p>
        </p:txBody>
      </p:sp>
    </p:spTree>
    <p:extLst>
      <p:ext uri="{BB962C8B-B14F-4D97-AF65-F5344CB8AC3E}">
        <p14:creationId xmlns="" xmlns:p14="http://schemas.microsoft.com/office/powerpoint/2010/main" val="350433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9" y="1037092"/>
            <a:ext cx="8229600" cy="1305514"/>
          </a:xfrm>
        </p:spPr>
        <p:txBody>
          <a:bodyPr/>
          <a:lstStyle/>
          <a:p>
            <a:pPr lvl="1"/>
            <a:r>
              <a:rPr lang="en-GB" dirty="0"/>
              <a:t>Using </a:t>
            </a:r>
            <a:r>
              <a:rPr lang="en-GB" dirty="0" smtClean="0"/>
              <a:t>GASPI Segment </a:t>
            </a:r>
            <a:r>
              <a:rPr lang="en-GB" dirty="0"/>
              <a:t>A</a:t>
            </a:r>
            <a:r>
              <a:rPr lang="en-GB" dirty="0" smtClean="0"/>
              <a:t>llocated </a:t>
            </a:r>
            <a:r>
              <a:rPr lang="en-GB" dirty="0"/>
              <a:t>M</a:t>
            </a:r>
            <a:r>
              <a:rPr lang="en-GB" dirty="0" smtClean="0"/>
              <a:t>emory </a:t>
            </a:r>
            <a:r>
              <a:rPr lang="en-GB" dirty="0"/>
              <a:t>in MPI </a:t>
            </a:r>
            <a:r>
              <a:rPr lang="en-GB" sz="4000" dirty="0"/>
              <a:t>C</a:t>
            </a:r>
            <a:r>
              <a:rPr lang="en-GB" sz="4000" dirty="0" smtClean="0"/>
              <a:t>ommunication</a:t>
            </a:r>
            <a:endParaRPr lang="de-DE" dirty="0"/>
          </a:p>
        </p:txBody>
      </p:sp>
      <p:sp>
        <p:nvSpPr>
          <p:cNvPr id="11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696686" y="2429692"/>
            <a:ext cx="8059783" cy="4014652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gatherV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, GASPI_GROUP_ALL,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ALLOC_DEFAULT));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NULL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)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it_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Allgather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]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T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MPI_INT,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);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130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926"/>
            <a:ext cx="8229600" cy="990600"/>
          </a:xfrm>
        </p:spPr>
        <p:txBody>
          <a:bodyPr/>
          <a:lstStyle/>
          <a:p>
            <a:pPr lvl="1"/>
            <a:r>
              <a:rPr lang="en-US" dirty="0"/>
              <a:t>Mixing MPI </a:t>
            </a:r>
            <a:r>
              <a:rPr lang="en-US" dirty="0" smtClean="0"/>
              <a:t>Code </a:t>
            </a:r>
            <a:r>
              <a:rPr lang="en-US" dirty="0"/>
              <a:t>wit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ASPI </a:t>
            </a:r>
            <a:r>
              <a:rPr lang="en-US" dirty="0"/>
              <a:t>C</a:t>
            </a:r>
            <a:r>
              <a:rPr lang="en-US" dirty="0" smtClean="0"/>
              <a:t>ode </a:t>
            </a:r>
            <a:r>
              <a:rPr lang="en-US" dirty="0"/>
              <a:t>F</a:t>
            </a:r>
            <a:r>
              <a:rPr lang="en-US" dirty="0" smtClean="0"/>
              <a:t>rom </a:t>
            </a:r>
            <a:r>
              <a:rPr lang="en-US" dirty="0"/>
              <a:t>a L</a:t>
            </a:r>
            <a:r>
              <a:rPr lang="en-US" dirty="0" smtClean="0"/>
              <a:t>ibrary</a:t>
            </a:r>
            <a:endParaRPr 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831771" y="2264229"/>
            <a:ext cx="5146767" cy="439782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istribu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, do M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mmunica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all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ibra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terativel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olving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linear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ystem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Jacobi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local_rows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a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  		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b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&amp;x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x_new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ax_ite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ol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);</a:t>
            </a: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);</a:t>
            </a:r>
            <a:endParaRPr lang="de-DE" sz="1400" dirty="0" smtClean="0"/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9077" y="2473233"/>
            <a:ext cx="3622766" cy="322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In </a:t>
            </a:r>
            <a:r>
              <a:rPr lang="en-US" sz="2400" dirty="0"/>
              <a:t>mixed-mode, an MPI based code may call GASPI code </a:t>
            </a:r>
            <a:r>
              <a:rPr lang="en-US" sz="2400" dirty="0" smtClean="0"/>
              <a:t>that </a:t>
            </a:r>
            <a:r>
              <a:rPr lang="en-US" sz="2400" dirty="0"/>
              <a:t>is embedded into a </a:t>
            </a:r>
            <a:r>
              <a:rPr lang="en-US" sz="2400" dirty="0" smtClean="0"/>
              <a:t>library</a:t>
            </a:r>
          </a:p>
          <a:p>
            <a:pPr marL="0" indent="0">
              <a:buNone/>
            </a:pPr>
            <a:r>
              <a:rPr lang="en-US" sz="2400" dirty="0" smtClean="0"/>
              <a:t>   </a:t>
            </a:r>
            <a:endParaRPr lang="en-US" sz="2400" dirty="0"/>
          </a:p>
          <a:p>
            <a:pPr marL="0" indent="-400050"/>
            <a:r>
              <a:rPr lang="en-US" sz="2400" dirty="0"/>
              <a:t>The GASPI environment must </a:t>
            </a:r>
            <a:r>
              <a:rPr lang="en-US" sz="2400" dirty="0" smtClean="0"/>
              <a:t>be initialized and cleaned up within </a:t>
            </a:r>
            <a:r>
              <a:rPr lang="en-US" sz="2400" dirty="0"/>
              <a:t>the calling </a:t>
            </a:r>
            <a:r>
              <a:rPr lang="en-US" sz="2400" dirty="0" smtClean="0"/>
              <a:t>program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256274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- Hands </a:t>
            </a:r>
            <a:r>
              <a:rPr lang="de-DE" dirty="0" smtClean="0"/>
              <a:t>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57200" y="1897063"/>
            <a:ext cx="3211286" cy="4229100"/>
          </a:xfrm>
        </p:spPr>
        <p:txBody>
          <a:bodyPr/>
          <a:lstStyle/>
          <a:p>
            <a:r>
              <a:rPr lang="de-DE" sz="2400" dirty="0" err="1" smtClean="0"/>
              <a:t>Imple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  <a:endParaRPr lang="de-DE" sz="2400" dirty="0" smtClean="0"/>
          </a:p>
          <a:p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rray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>M_SZ*2^(rank)</a:t>
            </a:r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4103926" y="1897063"/>
            <a:ext cx="4757057" cy="440120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/GASPI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B_SZ = 2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M_SZ = 2048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!= NULL);  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!= NULL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0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i,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k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= 1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i = 0; i &l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++i)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{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  = M_SZ * k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 +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k          *= B_SZ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496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/>
              <a:t>- Hands on - </a:t>
            </a:r>
            <a:r>
              <a:rPr lang="de-DE" dirty="0" smtClean="0"/>
              <a:t>I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97063"/>
            <a:ext cx="8229600" cy="463436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sz="2400" dirty="0"/>
              <a:t>M</a:t>
            </a:r>
            <a:r>
              <a:rPr lang="de-DE" sz="2400" dirty="0" smtClean="0"/>
              <a:t>odify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bove</a:t>
            </a:r>
            <a:r>
              <a:rPr lang="de-DE" sz="2400" dirty="0" smtClean="0"/>
              <a:t> M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, such </a:t>
            </a:r>
            <a:r>
              <a:rPr lang="de-DE" sz="2400" dirty="0" err="1" smtClean="0"/>
              <a:t>that</a:t>
            </a:r>
            <a:r>
              <a:rPr lang="de-DE" sz="2400" dirty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environment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initialized</a:t>
            </a:r>
            <a:r>
              <a:rPr lang="de-DE" sz="2400" dirty="0" smtClean="0"/>
              <a:t> after MPI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heck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GAS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identical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reate a GASPI </a:t>
            </a:r>
            <a:r>
              <a:rPr lang="de-DE" sz="2400" dirty="0" err="1" smtClean="0"/>
              <a:t>segment</a:t>
            </a:r>
            <a:endParaRPr lang="de-DE" sz="2400" dirty="0"/>
          </a:p>
          <a:p>
            <a:pPr marL="514350" indent="-514350">
              <a:buFont typeface="+mj-lt"/>
              <a:buAutoNum type="arabicPeriod"/>
            </a:pPr>
            <a:r>
              <a:rPr lang="de-DE" sz="2400" dirty="0" err="1" smtClean="0"/>
              <a:t>Us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ocat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a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buffer</a:t>
            </a:r>
            <a:r>
              <a:rPr lang="de-DE" sz="2400" dirty="0"/>
              <a:t> </a:t>
            </a:r>
            <a:r>
              <a:rPr lang="de-DE" sz="2400" dirty="0" smtClean="0"/>
              <a:t>in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smtClean="0"/>
              <a:t>MPI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endParaRPr lang="de-DE" sz="2400" dirty="0" smtClean="0"/>
          </a:p>
          <a:p>
            <a:pPr lvl="1"/>
            <a:endParaRPr lang="de-DE" sz="2400" dirty="0"/>
          </a:p>
        </p:txBody>
      </p:sp>
    </p:spTree>
    <p:extLst>
      <p:ext uri="{BB962C8B-B14F-4D97-AF65-F5344CB8AC3E}">
        <p14:creationId xmlns="" xmlns:p14="http://schemas.microsoft.com/office/powerpoint/2010/main" val="184936273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The GASPI </a:t>
            </a:r>
            <a:r>
              <a:rPr lang="de-DE" dirty="0" err="1" smtClean="0"/>
              <a:t>programming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ink </a:t>
            </a:r>
            <a:r>
              <a:rPr lang="de-DE" dirty="0" err="1" smtClean="0"/>
              <a:t>performan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smtClean="0"/>
              <a:t>maximal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9192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‚</a:t>
            </a:r>
            <a:r>
              <a:rPr lang="de-DE" dirty="0" err="1" smtClean="0"/>
              <a:t>folklore</a:t>
            </a:r>
            <a:r>
              <a:rPr lang="de-DE" dirty="0" smtClean="0"/>
              <a:t>‘ </a:t>
            </a:r>
            <a:r>
              <a:rPr lang="de-DE" dirty="0" err="1" smtClean="0"/>
              <a:t>round-robi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</a:t>
            </a:r>
            <a:r>
              <a:rPr lang="de-DE" dirty="0" smtClean="0"/>
              <a:t>(TODO + </a:t>
            </a:r>
            <a:r>
              <a:rPr lang="de-DE" dirty="0" err="1" smtClean="0"/>
              <a:t>Questions</a:t>
            </a:r>
            <a:r>
              <a:rPr lang="de-DE" dirty="0" smtClean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2050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5861" y="3235551"/>
            <a:ext cx="4838700" cy="1981201"/>
          </a:xfrm>
          <a:prstGeom prst="rect">
            <a:avLst/>
          </a:prstGeom>
          <a:noFill/>
        </p:spPr>
      </p:pic>
      <p:sp>
        <p:nvSpPr>
          <p:cNvPr id="5" name="Nach rechts gekrümmter Pfeil 4"/>
          <p:cNvSpPr/>
          <p:nvPr/>
        </p:nvSpPr>
        <p:spPr>
          <a:xfrm rot="10800000">
            <a:off x="4137751" y="3252028"/>
            <a:ext cx="731520" cy="1803980"/>
          </a:xfrm>
          <a:prstGeom prst="curv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Pfeil nach unten 5"/>
          <p:cNvSpPr/>
          <p:nvPr/>
        </p:nvSpPr>
        <p:spPr>
          <a:xfrm>
            <a:off x="2826430" y="3429000"/>
            <a:ext cx="318861" cy="149637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441" y="1794110"/>
            <a:ext cx="8229600" cy="4229100"/>
          </a:xfrm>
        </p:spPr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‚</a:t>
            </a:r>
            <a:r>
              <a:rPr lang="de-DE" dirty="0" err="1" smtClean="0"/>
              <a:t>pipelined</a:t>
            </a:r>
            <a:r>
              <a:rPr lang="de-DE" dirty="0" smtClean="0"/>
              <a:t>‘ </a:t>
            </a:r>
            <a:r>
              <a:rPr lang="de-DE" dirty="0" err="1" smtClean="0"/>
              <a:t>algorithm</a:t>
            </a:r>
            <a:r>
              <a:rPr lang="de-DE" dirty="0" smtClean="0"/>
              <a:t>, </a:t>
            </a:r>
            <a:r>
              <a:rPr lang="de-DE" dirty="0" err="1" smtClean="0"/>
              <a:t>a</a:t>
            </a:r>
            <a:r>
              <a:rPr lang="de-DE" dirty="0" err="1" smtClean="0"/>
              <a:t>llscatter</a:t>
            </a:r>
            <a:r>
              <a:rPr lang="de-DE" dirty="0" smtClean="0"/>
              <a:t> + </a:t>
            </a:r>
            <a:r>
              <a:rPr lang="de-DE" dirty="0" err="1" smtClean="0"/>
              <a:t>broadcast</a:t>
            </a:r>
            <a:r>
              <a:rPr lang="de-DE" dirty="0" smtClean="0"/>
              <a:t> </a:t>
            </a:r>
            <a:r>
              <a:rPr lang="de-DE" dirty="0" smtClean="0"/>
              <a:t>(TODO + </a:t>
            </a:r>
            <a:r>
              <a:rPr lang="de-DE" dirty="0" err="1" smtClean="0"/>
              <a:t>Questions</a:t>
            </a:r>
            <a:r>
              <a:rPr lang="de-DE" dirty="0" smtClean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6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2038779" y="3235551"/>
            <a:ext cx="2108653" cy="1981201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2888473" y="390797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0" name="Textfeld 9"/>
          <p:cNvSpPr txBox="1"/>
          <p:nvPr/>
        </p:nvSpPr>
        <p:spPr>
          <a:xfrm>
            <a:off x="3243915" y="431109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1" name="Textfeld 10"/>
          <p:cNvSpPr txBox="1"/>
          <p:nvPr/>
        </p:nvSpPr>
        <p:spPr>
          <a:xfrm>
            <a:off x="3585159" y="4724401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2" name="Textfeld 11"/>
          <p:cNvSpPr txBox="1"/>
          <p:nvPr/>
        </p:nvSpPr>
        <p:spPr>
          <a:xfrm>
            <a:off x="2540134" y="3504847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pic>
        <p:nvPicPr>
          <p:cNvPr id="13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4470241" y="4657650"/>
            <a:ext cx="2108653" cy="1981201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4965778" y="4992259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5" name="Textfeld 14"/>
          <p:cNvSpPr txBox="1"/>
          <p:nvPr/>
        </p:nvSpPr>
        <p:spPr>
          <a:xfrm>
            <a:off x="4965778" y="507969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6" name="Textfeld 15"/>
          <p:cNvSpPr txBox="1"/>
          <p:nvPr/>
        </p:nvSpPr>
        <p:spPr>
          <a:xfrm>
            <a:off x="4972872" y="5159433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7" name="Textfeld 16"/>
          <p:cNvSpPr txBox="1"/>
          <p:nvPr/>
        </p:nvSpPr>
        <p:spPr>
          <a:xfrm>
            <a:off x="4971596" y="4905174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pic>
        <p:nvPicPr>
          <p:cNvPr id="18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l="62317"/>
          <a:stretch>
            <a:fillRect/>
          </a:stretch>
        </p:blipFill>
        <p:spPr bwMode="auto">
          <a:xfrm>
            <a:off x="6727371" y="2591505"/>
            <a:ext cx="1823357" cy="1981201"/>
          </a:xfrm>
          <a:prstGeom prst="rect">
            <a:avLst/>
          </a:prstGeom>
          <a:noFill/>
        </p:spPr>
      </p:pic>
      <p:grpSp>
        <p:nvGrpSpPr>
          <p:cNvPr id="42" name="Gruppieren 41"/>
          <p:cNvGrpSpPr/>
          <p:nvPr/>
        </p:nvGrpSpPr>
        <p:grpSpPr>
          <a:xfrm>
            <a:off x="4955263" y="5936122"/>
            <a:ext cx="284312" cy="515869"/>
            <a:chOff x="5113110" y="5057574"/>
            <a:chExt cx="284312" cy="515869"/>
          </a:xfrm>
        </p:grpSpPr>
        <p:sp>
          <p:nvSpPr>
            <p:cNvPr id="38" name="Textfeld 37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5114386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5113110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4967425" y="5583889"/>
            <a:ext cx="286338" cy="515869"/>
            <a:chOff x="5118178" y="5057574"/>
            <a:chExt cx="286338" cy="515869"/>
          </a:xfrm>
        </p:grpSpPr>
        <p:sp>
          <p:nvSpPr>
            <p:cNvPr id="44" name="Textfeld 43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5125272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123996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4964909" y="5242542"/>
            <a:ext cx="288854" cy="515869"/>
            <a:chOff x="5114386" y="5057574"/>
            <a:chExt cx="288854" cy="515869"/>
          </a:xfrm>
        </p:grpSpPr>
        <p:sp>
          <p:nvSpPr>
            <p:cNvPr id="49" name="Textfeld 48"/>
            <p:cNvSpPr txBox="1"/>
            <p:nvPr/>
          </p:nvSpPr>
          <p:spPr>
            <a:xfrm>
              <a:off x="5118178" y="5144659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5118178" y="5232096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5114386" y="5311833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  <p:sp>
          <p:nvSpPr>
            <p:cNvPr id="52" name="Textfeld 51"/>
            <p:cNvSpPr txBox="1"/>
            <p:nvPr/>
          </p:nvSpPr>
          <p:spPr>
            <a:xfrm>
              <a:off x="5123996" y="5057574"/>
              <a:ext cx="2792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dirty="0" smtClean="0"/>
                <a:t>A</a:t>
              </a:r>
              <a:endParaRPr lang="de-DE" sz="1050" dirty="0"/>
            </a:p>
          </p:txBody>
        </p:sp>
      </p:grpSp>
      <p:sp>
        <p:nvSpPr>
          <p:cNvPr id="53" name="Pfeil nach unten 52"/>
          <p:cNvSpPr/>
          <p:nvPr/>
        </p:nvSpPr>
        <p:spPr>
          <a:xfrm rot="17139690">
            <a:off x="3958952" y="4976542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Pfeil nach unten 53"/>
          <p:cNvSpPr/>
          <p:nvPr/>
        </p:nvSpPr>
        <p:spPr>
          <a:xfrm rot="13293147">
            <a:off x="7028631" y="4537310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History</a:t>
            </a:r>
            <a:endParaRPr lang="de-DE" dirty="0" smtClean="0"/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r>
              <a:rPr lang="de-DE" sz="2000" b="1" dirty="0" smtClean="0"/>
              <a:t>GPI </a:t>
            </a:r>
            <a:r>
              <a:rPr lang="de-DE" sz="2000" b="1" dirty="0" err="1" smtClean="0"/>
              <a:t>is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implementation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GASPI </a:t>
            </a:r>
            <a:r>
              <a:rPr lang="de-DE" sz="2000" b="1" dirty="0" err="1" smtClean="0"/>
              <a:t>standard</a:t>
            </a:r>
            <a:endParaRPr lang="de-DE" sz="2000" dirty="0" smtClean="0"/>
          </a:p>
          <a:p>
            <a:pPr lvl="1" eaLnBrk="1" hangingPunct="1"/>
            <a:r>
              <a:rPr lang="de-DE" sz="1800" dirty="0" err="1" smtClean="0"/>
              <a:t>originally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</a:t>
            </a:r>
            <a:r>
              <a:rPr lang="en-US" sz="1800" dirty="0" err="1" smtClean="0"/>
              <a:t>Fraunhofer</a:t>
            </a:r>
            <a:r>
              <a:rPr lang="en-US" sz="1800" dirty="0" smtClean="0"/>
              <a:t> Virtual Machine (</a:t>
            </a:r>
            <a:r>
              <a:rPr lang="en-US" sz="1800" b="1" dirty="0" smtClean="0"/>
              <a:t>FVM</a:t>
            </a:r>
            <a:r>
              <a:rPr lang="en-US" sz="1800" dirty="0" smtClean="0"/>
              <a:t>)</a:t>
            </a:r>
          </a:p>
          <a:p>
            <a:pPr lvl="1" eaLnBrk="1" hangingPunct="1"/>
            <a:r>
              <a:rPr lang="de-DE" sz="1800" dirty="0" err="1" smtClean="0"/>
              <a:t>developed</a:t>
            </a:r>
            <a:r>
              <a:rPr lang="de-DE" sz="1800" dirty="0" smtClean="0"/>
              <a:t> </a:t>
            </a:r>
            <a:r>
              <a:rPr lang="de-DE" sz="1800" dirty="0" err="1" smtClean="0"/>
              <a:t>since</a:t>
            </a:r>
            <a:r>
              <a:rPr lang="de-DE" sz="1800" dirty="0" smtClean="0"/>
              <a:t> 2005</a:t>
            </a:r>
          </a:p>
          <a:p>
            <a:pPr lvl="1" eaLnBrk="1" hangingPunct="1"/>
            <a:r>
              <a:rPr lang="de-DE" sz="1800" dirty="0" err="1" smtClean="0"/>
              <a:t>used</a:t>
            </a:r>
            <a:r>
              <a:rPr lang="de-DE" sz="1800" dirty="0" smtClean="0"/>
              <a:t> in </a:t>
            </a:r>
            <a:r>
              <a:rPr lang="de-DE" sz="1800" dirty="0" err="1" smtClean="0"/>
              <a:t>many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industry</a:t>
            </a:r>
            <a:r>
              <a:rPr lang="de-DE" sz="1800" dirty="0" smtClean="0"/>
              <a:t> </a:t>
            </a:r>
            <a:r>
              <a:rPr lang="de-DE" sz="1800" dirty="0" err="1" smtClean="0"/>
              <a:t>projects</a:t>
            </a:r>
            <a:r>
              <a:rPr lang="de-DE" sz="1800" dirty="0" smtClean="0"/>
              <a:t> at CC-HPC </a:t>
            </a:r>
            <a:r>
              <a:rPr lang="de-DE" sz="1800" dirty="0" err="1" smtClean="0"/>
              <a:t>of</a:t>
            </a:r>
            <a:r>
              <a:rPr lang="de-DE" sz="1800" dirty="0" smtClean="0"/>
              <a:t> Fraunhofer ITWM</a:t>
            </a:r>
          </a:p>
          <a:p>
            <a:pPr eaLnBrk="1" hangingPunct="1">
              <a:buFont typeface="Arial" charset="0"/>
              <a:buNone/>
            </a:pPr>
            <a:endParaRPr lang="de-DE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945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424363"/>
            <a:ext cx="5715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Inhaltsplatzhalter 2"/>
          <p:cNvSpPr>
            <a:spLocks/>
          </p:cNvSpPr>
          <p:nvPr/>
        </p:nvSpPr>
        <p:spPr bwMode="auto">
          <a:xfrm>
            <a:off x="2355850" y="4011613"/>
            <a:ext cx="6513513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Winner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„Joseph von Fraunhofer Preis 2013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Finalist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„European Innovation Radar 2016“.</a:t>
            </a: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								</a:t>
            </a:r>
            <a:r>
              <a:rPr lang="de-DE" sz="24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64" y="1897063"/>
            <a:ext cx="3517271" cy="42291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Stencil </a:t>
            </a:r>
            <a:r>
              <a:rPr lang="de-DE" dirty="0" err="1" smtClean="0"/>
              <a:t>applic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cla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lgorithms</a:t>
            </a:r>
            <a:endParaRPr lang="de-DE" dirty="0" smtClean="0"/>
          </a:p>
          <a:p>
            <a:pPr lvl="1"/>
            <a:r>
              <a:rPr lang="de-DE" dirty="0" smtClean="0"/>
              <a:t>FD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lvl="1"/>
            <a:r>
              <a:rPr lang="de-DE" dirty="0" smtClean="0"/>
              <a:t>Image </a:t>
            </a:r>
            <a:r>
              <a:rPr lang="de-DE" dirty="0" err="1" smtClean="0"/>
              <a:t>processing</a:t>
            </a:r>
            <a:endParaRPr lang="de-DE" dirty="0" smtClean="0"/>
          </a:p>
          <a:p>
            <a:pPr lvl="1"/>
            <a:r>
              <a:rPr lang="de-DE" dirty="0" smtClean="0"/>
              <a:t>PDEs</a:t>
            </a:r>
          </a:p>
          <a:p>
            <a:r>
              <a:rPr lang="de-DE" dirty="0" smtClean="0"/>
              <a:t>Iterative </a:t>
            </a:r>
            <a:r>
              <a:rPr lang="de-DE" dirty="0" err="1" smtClean="0"/>
              <a:t>method</a:t>
            </a:r>
            <a:endParaRPr lang="de-DE" dirty="0" smtClean="0"/>
          </a:p>
          <a:p>
            <a:r>
              <a:rPr lang="de-DE" dirty="0" smtClean="0"/>
              <a:t>Non-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update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-&gt;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2898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ncil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2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0</a:t>
            </a:r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1</a:t>
            </a:r>
          </a:p>
          <a:p>
            <a:r>
              <a:rPr lang="de-DE" dirty="0" smtClean="0"/>
              <a:t>2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lvl="1"/>
            <a:r>
              <a:rPr lang="de-DE" dirty="0" err="1" smtClean="0"/>
              <a:t>Upp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pPr lvl="1"/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r>
              <a:rPr lang="de-DE" dirty="0" smtClean="0"/>
              <a:t>Data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lvl="1"/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612" y="5264204"/>
            <a:ext cx="2315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step</a:t>
            </a:r>
            <a:r>
              <a:rPr lang="de-DE" dirty="0" smtClean="0"/>
              <a:t>:</a:t>
            </a:r>
            <a:endParaRPr lang="de-DE" dirty="0"/>
          </a:p>
          <a:p>
            <a:r>
              <a:rPr lang="de-DE" dirty="0" smtClean="0"/>
              <a:t>  </a:t>
            </a:r>
            <a:r>
              <a:rPr lang="de-DE" dirty="0" smtClean="0">
                <a:solidFill>
                  <a:srgbClr val="1E02EE"/>
                </a:solidFill>
              </a:rPr>
              <a:t>- Update </a:t>
            </a:r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part</a:t>
            </a:r>
            <a:endParaRPr lang="de-DE" dirty="0" smtClean="0">
              <a:solidFill>
                <a:srgbClr val="1E02EE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> - Update </a:t>
            </a:r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part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63784" y="41689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65212" y="30650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207496" y="304081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14614" y="363760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23160" y="415036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0278" y="474715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Curved Right Arrow 12"/>
          <p:cNvSpPr/>
          <p:nvPr/>
        </p:nvSpPr>
        <p:spPr>
          <a:xfrm>
            <a:off x="128187" y="3314741"/>
            <a:ext cx="329013" cy="1103862"/>
          </a:xfrm>
          <a:prstGeom prst="curvedRightArrow">
            <a:avLst/>
          </a:prstGeom>
          <a:scene3d>
            <a:camera prst="orthographicFront">
              <a:rot lat="0" lon="10799999" rev="10799999"/>
            </a:camera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615293" y="3314741"/>
            <a:ext cx="299103" cy="1103862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368" y="3613608"/>
            <a:ext cx="96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Update</a:t>
            </a:r>
            <a:br>
              <a:rPr lang="de-DE" sz="1400" dirty="0" smtClean="0"/>
            </a:br>
            <a:r>
              <a:rPr lang="de-DE" sz="1400" dirty="0" err="1" smtClean="0"/>
              <a:t>cycle</a:t>
            </a:r>
            <a:endParaRPr lang="en-US" sz="1400" dirty="0"/>
          </a:p>
        </p:txBody>
      </p:sp>
    </p:spTree>
    <p:extLst>
      <p:ext uri="{BB962C8B-B14F-4D97-AF65-F5344CB8AC3E}">
        <p14:creationId xmlns="" xmlns:p14="http://schemas.microsoft.com/office/powerpoint/2010/main" val="152315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ncil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966057"/>
            <a:ext cx="5111750" cy="4467099"/>
          </a:xfrm>
        </p:spPr>
      </p:pic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Nthread</a:t>
            </a:r>
            <a:r>
              <a:rPr lang="de-DE" dirty="0" smtClean="0"/>
              <a:t> </a:t>
            </a:r>
            <a:r>
              <a:rPr lang="de-DE" dirty="0" err="1" smtClean="0"/>
              <a:t>omp</a:t>
            </a:r>
            <a:r>
              <a:rPr lang="de-DE" dirty="0" smtClean="0"/>
              <a:t> </a:t>
            </a:r>
            <a:r>
              <a:rPr lang="de-DE" dirty="0" err="1" smtClean="0"/>
              <a:t>threa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</a:t>
            </a:r>
            <a:r>
              <a:rPr lang="de-DE" dirty="0" err="1" smtClean="0"/>
              <a:t>tatic</a:t>
            </a:r>
            <a:r>
              <a:rPr lang="de-DE" dirty="0" smtClean="0"/>
              <a:t> </a:t>
            </a:r>
            <a:r>
              <a:rPr lang="de-DE" dirty="0" err="1" smtClean="0"/>
              <a:t>domain</a:t>
            </a:r>
            <a:r>
              <a:rPr lang="de-DE" dirty="0" smtClean="0"/>
              <a:t> </a:t>
            </a:r>
            <a:r>
              <a:rPr lang="de-DE" dirty="0" err="1" smtClean="0"/>
              <a:t>decomposition</a:t>
            </a:r>
            <a:r>
              <a:rPr lang="de-DE" dirty="0" smtClean="0"/>
              <a:t> / </a:t>
            </a:r>
            <a:r>
              <a:rPr lang="de-DE" dirty="0" err="1" smtClean="0"/>
              <a:t>assign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thread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length</a:t>
            </a:r>
            <a:r>
              <a:rPr lang="de-DE" dirty="0" smtClean="0"/>
              <a:t>: </a:t>
            </a:r>
            <a:r>
              <a:rPr lang="de-DE" dirty="0" err="1" smtClean="0"/>
              <a:t>nvecto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884926" y="182591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883498" y="329439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71932" y="493516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0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591810" y="516447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21662" y="492518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2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641540" y="515450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3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9158" y="201529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4822" y="261208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41914" y="34239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31940" y="39780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558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Fork-Join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77154" y="3199121"/>
            <a:ext cx="4701623" cy="1579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17234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1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sp>
        <p:nvSpPr>
          <p:cNvPr id="3" name="TextBox 2"/>
          <p:cNvSpPr txBox="1"/>
          <p:nvPr/>
        </p:nvSpPr>
        <p:spPr>
          <a:xfrm>
            <a:off x="6289700" y="2909544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0415" y="3555875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5826799" y="4694204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99675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127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2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23076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69407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44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4737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338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3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2789900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3436231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436945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467200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447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4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140168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786499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26799" y="303628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4005" y="333882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352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Nelem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itera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Initial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recovered</a:t>
            </a:r>
            <a:endParaRPr lang="en-US" dirty="0" smtClean="0"/>
          </a:p>
          <a:p>
            <a:pPr marL="457200" lvl="1" indent="0">
              <a:buNone/>
            </a:pPr>
            <a:r>
              <a:rPr lang="de-DE" dirty="0" smtClean="0"/>
              <a:t>-&gt; Easy </a:t>
            </a:r>
            <a:r>
              <a:rPr lang="de-DE" dirty="0" err="1" smtClean="0"/>
              <a:t>to</a:t>
            </a:r>
            <a:r>
              <a:rPr lang="de-DE" dirty="0" smtClean="0"/>
              <a:t> check</a:t>
            </a:r>
          </a:p>
        </p:txBody>
      </p:sp>
    </p:spTree>
    <p:extLst>
      <p:ext uri="{BB962C8B-B14F-4D97-AF65-F5344CB8AC3E}">
        <p14:creationId xmlns="" xmlns:p14="http://schemas.microsoft.com/office/powerpoint/2010/main" val="228810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6" name="Straight Arrow Connector 5"/>
          <p:cNvCxnSpPr/>
          <p:nvPr/>
        </p:nvCxnSpPr>
        <p:spPr>
          <a:xfrm>
            <a:off x="2179182" y="5546222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674267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90049" y="4909349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Join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876987" y="489937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Fork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50991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058109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058109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82319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127758" y="2632115"/>
            <a:ext cx="2837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3801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024" y="1650049"/>
            <a:ext cx="67103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xagon 1"/>
          <p:cNvSpPr/>
          <p:nvPr/>
        </p:nvSpPr>
        <p:spPr>
          <a:xfrm>
            <a:off x="3763398" y="2886783"/>
            <a:ext cx="1843701" cy="1209124"/>
          </a:xfrm>
          <a:prstGeom prst="hexag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 smtClean="0"/>
              <a:t>Founding</a:t>
            </a:r>
            <a:r>
              <a:rPr lang="de-DE" sz="2000" dirty="0" smtClean="0"/>
              <a:t> Members</a:t>
            </a:r>
            <a:endParaRPr lang="de-DE" sz="2000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915681" y="48357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dirty="0" smtClean="0"/>
              <a:t>GASPI </a:t>
            </a:r>
          </a:p>
          <a:p>
            <a:pPr eaLnBrk="1" hangingPunct="1"/>
            <a:r>
              <a:rPr lang="de-DE" dirty="0" err="1" smtClean="0"/>
              <a:t>Standardization</a:t>
            </a:r>
            <a:r>
              <a:rPr lang="de-DE" dirty="0" smtClean="0"/>
              <a:t> Forum</a:t>
            </a:r>
          </a:p>
        </p:txBody>
      </p:sp>
    </p:spTree>
    <p:extLst>
      <p:ext uri="{BB962C8B-B14F-4D97-AF65-F5344CB8AC3E}">
        <p14:creationId xmlns="" xmlns:p14="http://schemas.microsoft.com/office/powerpoint/2010/main" val="83236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re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…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5744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lementary</a:t>
            </a:r>
            <a:r>
              <a:rPr lang="de-DE" dirty="0" smtClean="0"/>
              <a:t> updat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hosts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r>
              <a:rPr lang="de-DE" dirty="0" smtClean="0"/>
              <a:t>Par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longer</a:t>
            </a:r>
            <a:r>
              <a:rPr lang="de-DE" dirty="0" smtClean="0"/>
              <a:t> </a:t>
            </a: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accessib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3955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oundary</a:t>
            </a:r>
            <a:r>
              <a:rPr lang="de-DE" dirty="0" smtClean="0"/>
              <a:t> / Halo </a:t>
            </a:r>
            <a:r>
              <a:rPr lang="de-DE" dirty="0" err="1" smtClean="0"/>
              <a:t>domai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</p:spTree>
    <p:extLst>
      <p:ext uri="{BB962C8B-B14F-4D97-AF65-F5344CB8AC3E}">
        <p14:creationId xmlns="" xmlns:p14="http://schemas.microsoft.com/office/powerpoint/2010/main" val="79451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</p:spTree>
    <p:extLst>
      <p:ext uri="{BB962C8B-B14F-4D97-AF65-F5344CB8AC3E}">
        <p14:creationId xmlns="" xmlns:p14="http://schemas.microsoft.com/office/powerpoint/2010/main" val="267542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mory </a:t>
            </a:r>
            <a:r>
              <a:rPr lang="de-DE" dirty="0" err="1" smtClean="0"/>
              <a:t>layou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29" y="1897063"/>
            <a:ext cx="4843741" cy="4229100"/>
          </a:xfrm>
        </p:spPr>
      </p:pic>
    </p:spTree>
    <p:extLst>
      <p:ext uri="{BB962C8B-B14F-4D97-AF65-F5344CB8AC3E}">
        <p14:creationId xmlns="" xmlns:p14="http://schemas.microsoft.com/office/powerpoint/2010/main" val="164627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eparate </a:t>
            </a:r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0137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11" name="Group 10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07279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34624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r>
              <a:rPr lang="de-DE" dirty="0" smtClean="0"/>
              <a:t>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19703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94682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>
          <a:xfrm>
            <a:off x="457200" y="850477"/>
            <a:ext cx="8229600" cy="990600"/>
          </a:xfrm>
        </p:spPr>
        <p:txBody>
          <a:bodyPr/>
          <a:lstStyle/>
          <a:p>
            <a:pPr eaLnBrk="1" hangingPunct="1"/>
            <a:r>
              <a:rPr lang="de-DE" dirty="0"/>
              <a:t>	</a:t>
            </a:r>
            <a:r>
              <a:rPr lang="de-DE" dirty="0" smtClean="0"/>
              <a:t>GASPI in </a:t>
            </a:r>
            <a:br>
              <a:rPr lang="de-DE" dirty="0" smtClean="0"/>
            </a:br>
            <a:r>
              <a:rPr lang="de-DE" dirty="0" smtClean="0"/>
              <a:t>European </a:t>
            </a:r>
            <a:r>
              <a:rPr lang="de-DE" dirty="0" err="1" smtClean="0"/>
              <a:t>Exascale</a:t>
            </a:r>
            <a:r>
              <a:rPr lang="de-DE" dirty="0" smtClean="0"/>
              <a:t> Projects</a:t>
            </a:r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00" y="1897028"/>
            <a:ext cx="7834496" cy="4806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7565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bulk</a:t>
            </a:r>
            <a:r>
              <a:rPr lang="de-DE" dirty="0"/>
              <a:t>-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funneled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199" y="2571751"/>
            <a:ext cx="8686801" cy="39265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 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="" xmlns:p14="http://schemas.microsoft.com/office/powerpoint/2010/main" val="322845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ursion</a:t>
            </a:r>
            <a:r>
              <a:rPr lang="de-DE" dirty="0" smtClean="0"/>
              <a:t>: </a:t>
            </a:r>
            <a:r>
              <a:rPr lang="de-DE" dirty="0" err="1" smtClean="0"/>
              <a:t>Efficient</a:t>
            </a:r>
            <a:r>
              <a:rPr lang="de-DE" dirty="0" smtClean="0"/>
              <a:t> parallel 								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asic </a:t>
            </a:r>
            <a:r>
              <a:rPr lang="de-DE" dirty="0" err="1" smtClean="0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4033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2656443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Question</a:t>
            </a:r>
            <a:r>
              <a:rPr lang="de-DE" dirty="0" smtClean="0"/>
              <a:t>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Rectangle 3"/>
          <p:cNvSpPr/>
          <p:nvPr/>
        </p:nvSpPr>
        <p:spPr>
          <a:xfrm>
            <a:off x="2055987" y="3559629"/>
            <a:ext cx="4762843" cy="923330"/>
          </a:xfrm>
          <a:prstGeom prst="rect">
            <a:avLst/>
          </a:prstGeom>
          <a:solidFill>
            <a:srgbClr val="FF000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CALABILITY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52554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99858" y="3614871"/>
            <a:ext cx="7588665" cy="1170774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r>
                  <a:rPr lang="de-DE" dirty="0" smtClean="0"/>
                  <a:t>Definition: 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𝑆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de-DE" i="1" smtClean="0">
                            <a:latin typeface="Cambria Math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1)</m:t>
                        </m:r>
                      </m:num>
                      <m:den>
                        <m:r>
                          <a:rPr lang="de-DE" b="0" i="1" smtClean="0">
                            <a:latin typeface="Cambria Math"/>
                          </a:rPr>
                          <m:t>𝑇</m:t>
                        </m:r>
                        <m:r>
                          <a:rPr lang="de-DE" b="0" i="1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)</m:t>
                        </m:r>
                      </m:den>
                    </m:f>
                  </m:oMath>
                </a14:m>
                <a:endParaRPr lang="de-DE" dirty="0" smtClean="0"/>
              </a:p>
              <a:p>
                <a:r>
                  <a:rPr lang="de-DE" dirty="0" smtClean="0"/>
                  <a:t>Interpretation:</a:t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</a:t>
                </a:r>
                <a:r>
                  <a:rPr lang="de-DE" dirty="0" err="1"/>
                  <a:t>Measure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additional </a:t>
                </a:r>
                <a:r>
                  <a:rPr lang="de-DE" dirty="0" err="1"/>
                  <a:t>benefit</a:t>
                </a:r>
                <a:r>
                  <a:rPr lang="de-DE" dirty="0"/>
                  <a:t> </a:t>
                </a:r>
                <a:r>
                  <a:rPr lang="de-DE" dirty="0" err="1"/>
                  <a:t>generated</a:t>
                </a:r>
                <a:r>
                  <a:rPr lang="de-DE" dirty="0"/>
                  <a:t> </a:t>
                </a:r>
                <a:br>
                  <a:rPr lang="de-DE" dirty="0"/>
                </a:br>
                <a:r>
                  <a:rPr lang="de-DE" dirty="0"/>
                  <a:t>	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de-DE" dirty="0" err="1"/>
                  <a:t>employing</a:t>
                </a:r>
                <a:r>
                  <a:rPr lang="de-DE" dirty="0"/>
                  <a:t> additional </a:t>
                </a:r>
                <a:r>
                  <a:rPr lang="de-DE" dirty="0" err="1" smtClean="0"/>
                  <a:t>resources</a:t>
                </a:r>
                <a:endParaRPr lang="de-DE" dirty="0"/>
              </a:p>
              <a:p>
                <a:pPr marL="0" indent="0">
                  <a:buNone/>
                </a:pPr>
                <a:endParaRPr lang="de-DE" sz="16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r="-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="" xmlns:p14="http://schemas.microsoft.com/office/powerpoint/2010/main" val="150889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:r>
                  <a:rPr lang="de-DE" dirty="0" smtClean="0"/>
                  <a:t>Optimal: linear </a:t>
                </a:r>
                <a:r>
                  <a:rPr lang="de-DE" dirty="0" err="1" smtClean="0"/>
                  <a:t>scalability</a:t>
                </a:r>
                <a:r>
                  <a:rPr lang="de-DE" dirty="0" smtClean="0"/>
                  <a:t>, i.e.</a:t>
                </a:r>
                <a:r>
                  <a:rPr lang="de-DE" dirty="0"/>
                  <a:t/>
                </a:r>
                <a:br>
                  <a:rPr lang="de-DE" dirty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</m:oMath>
                </a14:m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dirty="0" smtClean="0"/>
                  <a:t>-&gt; 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sour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l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    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gener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nefit</a:t>
                </a:r>
                <a:r>
                  <a:rPr lang="de-DE" dirty="0" smtClean="0"/>
                  <a:t> 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="" xmlns:p14="http://schemas.microsoft.com/office/powerpoint/2010/main" val="32949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140" y="3282968"/>
            <a:ext cx="5869244" cy="23487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67741" y="3277668"/>
            <a:ext cx="1093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48297" y="4299923"/>
            <a:ext cx="1761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4) = T(1) / 4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51695" y="5700050"/>
            <a:ext cx="6489152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905009" y="5816653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518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r>
                  <a:rPr lang="de-DE" dirty="0" smtClean="0"/>
                  <a:t>T(1)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pure </a:t>
                </a:r>
                <a:r>
                  <a:rPr lang="de-DE" dirty="0" err="1" smtClean="0"/>
                  <a:t>computation</a:t>
                </a:r>
                <a:r>
                  <a:rPr lang="de-DE" dirty="0" smtClean="0"/>
                  <a:t> time, i.e.</a:t>
                </a:r>
              </a:p>
              <a:p>
                <a:pPr lvl="1"/>
                <a:r>
                  <a:rPr lang="de-DE" dirty="0" err="1" smtClean="0"/>
                  <a:t>communic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atenc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ne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letel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hidde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parallel </a:t>
                </a:r>
                <a:r>
                  <a:rPr lang="de-DE" dirty="0" err="1" smtClean="0"/>
                  <a:t>implementation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Optimal </a:t>
                </a:r>
                <a:r>
                  <a:rPr lang="de-DE" dirty="0" err="1" smtClean="0"/>
                  <a:t>lo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alanc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endParaRPr lang="de-DE" dirty="0"/>
              </a:p>
              <a:p>
                <a:pPr lvl="2"/>
                <a:r>
                  <a:rPr lang="de-DE" dirty="0" err="1" smtClean="0"/>
                  <a:t>N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ynchroniz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oints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(Potential </a:t>
                </a:r>
                <a:r>
                  <a:rPr lang="de-DE" dirty="0" err="1" smtClean="0"/>
                  <a:t>aggreg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per se </a:t>
                </a:r>
                <a:r>
                  <a:rPr lang="de-DE" dirty="0" err="1" smtClean="0"/>
                  <a:t>unavoidable</a:t>
                </a:r>
                <a:r>
                  <a:rPr lang="de-DE" dirty="0" smtClean="0"/>
                  <a:t>, e.g. OS </a:t>
                </a:r>
                <a:r>
                  <a:rPr lang="de-DE" dirty="0" err="1" smtClean="0"/>
                  <a:t>jitter</a:t>
                </a:r>
                <a:r>
                  <a:rPr lang="de-DE" dirty="0" smtClean="0"/>
                  <a:t> etc. )</a:t>
                </a:r>
              </a:p>
              <a:p>
                <a:pPr lvl="2"/>
                <a:r>
                  <a:rPr lang="de-DE" dirty="0" err="1" smtClean="0"/>
                  <a:t>Contiguou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rea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utationa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asks</a:t>
                </a:r>
                <a:r>
                  <a:rPr lang="de-DE" dirty="0" smtClean="0"/>
                  <a:t> </a:t>
                </a:r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b="-13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="" xmlns:p14="http://schemas.microsoft.com/office/powerpoint/2010/main" val="217104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xcurs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84115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0132" y="1386920"/>
            <a:ext cx="3899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Visualization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88" y="1944280"/>
            <a:ext cx="3282950" cy="223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798" y="1797676"/>
            <a:ext cx="3149600" cy="176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727" y="1473620"/>
            <a:ext cx="1328737" cy="884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450" y="4899301"/>
            <a:ext cx="2538413" cy="133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098" y="4810401"/>
            <a:ext cx="2159000" cy="151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08549" y="1549190"/>
            <a:ext cx="1398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CFD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27703" y="3650043"/>
            <a:ext cx="2659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Machine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Learning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Big Data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Iterat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olver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1891" y="4413302"/>
            <a:ext cx="42999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eismic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Imaging &amp;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Algorithm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95391" y="318634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de-DE" dirty="0" err="1" smtClean="0"/>
              <a:t>Some</a:t>
            </a:r>
            <a:r>
              <a:rPr lang="de-DE" dirty="0" smtClean="0"/>
              <a:t> GASPI </a:t>
            </a:r>
            <a:r>
              <a:rPr lang="de-DE" dirty="0" err="1" smtClean="0"/>
              <a:t>Applications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376725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/>
              <a:t>o</a:t>
            </a:r>
            <a:r>
              <a:rPr lang="de-DE" dirty="0" err="1" smtClean="0"/>
              <a:t>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7716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54554" y="3059723"/>
            <a:ext cx="1632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289706" y="3423199"/>
            <a:ext cx="1435693" cy="2173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5742774" y="3423199"/>
            <a:ext cx="1982626" cy="5762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6195701" y="3429055"/>
            <a:ext cx="1529699" cy="8523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6571716" y="3429055"/>
            <a:ext cx="1153683" cy="12113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27565" y="2063272"/>
            <a:ext cx="395808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explicitly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endParaRPr lang="en-US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427006" y="2623559"/>
            <a:ext cx="957129" cy="4361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864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6658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16704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1458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latencies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r>
              <a:rPr lang="de-DE" dirty="0" smtClean="0"/>
              <a:t>Split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/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endParaRPr lang="de-DE" dirty="0" smtClean="0"/>
          </a:p>
          <a:p>
            <a:pPr lvl="1"/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6374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lgorithmic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lo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endParaRPr lang="de-DE" dirty="0" smtClean="0"/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7762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8740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51397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="" xmlns:p14="http://schemas.microsoft.com/office/powerpoint/2010/main" val="240619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Communication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="" xmlns:p14="http://schemas.microsoft.com/office/powerpoint/2010/main" val="2642340778"/>
              </p:ext>
            </p:extLst>
          </p:nvPr>
        </p:nvGraphicFramePr>
        <p:xfrm>
          <a:off x="457200" y="1897063"/>
          <a:ext cx="8545513" cy="4645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555" name="Picture 5" descr="a350pic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60452" y="204783"/>
            <a:ext cx="13287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evron 3"/>
          <p:cNvSpPr/>
          <p:nvPr/>
        </p:nvSpPr>
        <p:spPr>
          <a:xfrm rot="-780000">
            <a:off x="5393094" y="3265707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83559" y="3256086"/>
            <a:ext cx="1582549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ata Transf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 rot="780000">
            <a:off x="5394843" y="4715081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4666" y="4853513"/>
            <a:ext cx="1826141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ynchronisation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="" xmlns:p14="http://schemas.microsoft.com/office/powerpoint/2010/main" val="349074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</p:spTree>
    <p:extLst>
      <p:ext uri="{BB962C8B-B14F-4D97-AF65-F5344CB8AC3E}">
        <p14:creationId xmlns="" xmlns:p14="http://schemas.microsoft.com/office/powerpoint/2010/main" val="191331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 bwMode="auto">
          <a:xfrm>
            <a:off x="3996486" y="5709916"/>
            <a:ext cx="4369140" cy="41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nwhile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element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parallel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4006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733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multipl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 NTHREADS - 1)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="" xmlns:p14="http://schemas.microsoft.com/office/powerpoint/2010/main" val="21854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215285"/>
            <a:ext cx="8229598" cy="3592656"/>
          </a:xfrm>
        </p:spPr>
      </p:pic>
      <p:sp>
        <p:nvSpPr>
          <p:cNvPr id="5" name="TextBox 4"/>
          <p:cNvSpPr txBox="1"/>
          <p:nvPr/>
        </p:nvSpPr>
        <p:spPr>
          <a:xfrm>
            <a:off x="2632119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39237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639237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663447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393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401613" y="333806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08731" y="372975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8731" y="417414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32941" y="455728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50033" y="5238566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503229" y="5457721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009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a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6542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smtClean="0"/>
              <a:t>Communication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(</a:t>
            </a:r>
            <a:r>
              <a:rPr lang="de-DE" dirty="0" err="1" smtClean="0"/>
              <a:t>partly</a:t>
            </a:r>
            <a:r>
              <a:rPr lang="de-DE" dirty="0" smtClean="0"/>
              <a:t>) </a:t>
            </a:r>
            <a:r>
              <a:rPr lang="de-DE" dirty="0" err="1" smtClean="0"/>
              <a:t>hidden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not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Fu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1"/>
            <a:r>
              <a:rPr lang="de-DE" dirty="0" smtClean="0"/>
              <a:t>Still </a:t>
            </a:r>
            <a:r>
              <a:rPr lang="de-DE" dirty="0" err="1" smtClean="0"/>
              <a:t>processwide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after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-&gt;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wide</a:t>
            </a:r>
            <a:r>
              <a:rPr lang="de-DE" dirty="0" smtClean="0"/>
              <a:t> </a:t>
            </a:r>
            <a:r>
              <a:rPr lang="de-DE" dirty="0" err="1" smtClean="0"/>
              <a:t>aggreg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4821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7516026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 </a:t>
            </a:r>
          </a:p>
          <a:p>
            <a:pPr eaLnBrk="1" hangingPunct="1"/>
            <a:r>
              <a:rPr lang="de-DE" sz="2400" dirty="0" smtClean="0"/>
              <a:t>The </a:t>
            </a:r>
            <a:r>
              <a:rPr lang="de-DE" sz="2400" dirty="0" err="1" smtClean="0"/>
              <a:t>initiator</a:t>
            </a:r>
            <a:r>
              <a:rPr lang="de-DE" sz="2400" dirty="0" smtClean="0"/>
              <a:t> </a:t>
            </a:r>
            <a:r>
              <a:rPr lang="de-DE" sz="2400" dirty="0" err="1" smtClean="0"/>
              <a:t>specifies</a:t>
            </a:r>
            <a:r>
              <a:rPr lang="de-DE" sz="2400" dirty="0" smtClean="0"/>
              <a:t> all </a:t>
            </a:r>
            <a:r>
              <a:rPr lang="de-DE" sz="2400" dirty="0" err="1" smtClean="0"/>
              <a:t>parameters</a:t>
            </a:r>
            <a:endParaRPr lang="de-DE" sz="2400" dirty="0" smtClean="0"/>
          </a:p>
          <a:p>
            <a:pPr lvl="1" eaLnBrk="1" hangingPunct="1"/>
            <a:r>
              <a:rPr lang="de-DE" sz="2000" dirty="0" smtClean="0"/>
              <a:t>Source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Target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Message </a:t>
            </a:r>
            <a:r>
              <a:rPr lang="de-DE" sz="2000" dirty="0" err="1" smtClean="0"/>
              <a:t>size</a:t>
            </a:r>
            <a:endParaRPr lang="de-DE" sz="20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8131511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barrier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Need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read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de-DE" dirty="0" smtClean="0"/>
          </a:p>
          <a:p>
            <a:pPr lvl="1"/>
            <a:endParaRPr lang="de-DE" dirty="0" smtClean="0"/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provides</a:t>
            </a:r>
            <a:r>
              <a:rPr lang="de-DE" dirty="0" smtClean="0"/>
              <a:t> </a:t>
            </a:r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!!!</a:t>
            </a:r>
          </a:p>
          <a:p>
            <a:pPr lvl="1"/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neighbours</a:t>
            </a:r>
            <a:r>
              <a:rPr lang="de-DE" dirty="0" smtClean="0"/>
              <a:t> (</a:t>
            </a:r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)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ate</a:t>
            </a:r>
            <a:endParaRPr lang="de-DE" dirty="0" smtClean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51674" y="2973364"/>
            <a:ext cx="1713431" cy="1497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96311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synchronicity</a:t>
            </a:r>
            <a:endParaRPr lang="en-US" dirty="0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325" y="1004094"/>
            <a:ext cx="5029200" cy="4391025"/>
          </a:xfrm>
        </p:spPr>
      </p:pic>
      <p:sp>
        <p:nvSpPr>
          <p:cNvPr id="17" name="Text Placeholder 1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troduce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buf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u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 smtClean="0"/>
              <a:t>stat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heck </a:t>
            </a:r>
            <a:r>
              <a:rPr lang="de-DE" dirty="0" err="1"/>
              <a:t>neighbourig</a:t>
            </a:r>
            <a:r>
              <a:rPr lang="de-DE" dirty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n </a:t>
            </a: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atch</a:t>
            </a:r>
            <a:r>
              <a:rPr lang="de-DE" dirty="0" smtClean="0"/>
              <a:t>: do update</a:t>
            </a:r>
            <a:br>
              <a:rPr lang="de-DE" dirty="0" smtClean="0"/>
            </a:b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after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-&gt; </a:t>
            </a:r>
            <a:r>
              <a:rPr lang="de-DE" b="1" dirty="0" err="1" smtClean="0"/>
              <a:t>Only</a:t>
            </a:r>
            <a:r>
              <a:rPr lang="de-DE" b="1" dirty="0" smtClean="0"/>
              <a:t> </a:t>
            </a:r>
            <a:r>
              <a:rPr lang="de-DE" b="1" dirty="0" err="1" smtClean="0"/>
              <a:t>local</a:t>
            </a:r>
            <a:r>
              <a:rPr lang="de-DE" b="1" dirty="0" smtClean="0"/>
              <a:t> </a:t>
            </a:r>
            <a:r>
              <a:rPr lang="de-DE" b="1" dirty="0" err="1" smtClean="0"/>
              <a:t>dependencies</a:t>
            </a:r>
            <a:r>
              <a:rPr lang="de-DE" b="1" dirty="0" smtClean="0"/>
              <a:t> </a:t>
            </a:r>
            <a:r>
              <a:rPr lang="de-DE" b="1" dirty="0" err="1" smtClean="0"/>
              <a:t>remain</a:t>
            </a:r>
            <a:endParaRPr lang="de-DE" b="1" dirty="0"/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649044" y="5144558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25066" y="5143130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not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16325" y="1003079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854153" y="1307507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332718" y="1372411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332718" y="1338227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35077" y="1001651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6672905" y="1306079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7151470" y="1370983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7151470" y="1336799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93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assignment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/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1"/>
            <a:r>
              <a:rPr lang="de-DE" dirty="0" smtClean="0"/>
              <a:t>1 „Task“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en-US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/>
              <a:t> -</a:t>
            </a:r>
            <a:r>
              <a:rPr lang="de-DE" dirty="0" smtClean="0"/>
              <a:t> </a:t>
            </a: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subdomains</a:t>
            </a:r>
            <a:endParaRPr lang="de-DE" dirty="0" smtClean="0"/>
          </a:p>
          <a:p>
            <a:pPr lvl="1"/>
            <a:r>
              <a:rPr lang="de-DE" dirty="0" err="1" smtClean="0"/>
              <a:t>Pre-Condition</a:t>
            </a:r>
            <a:r>
              <a:rPr lang="de-DE" dirty="0" smtClean="0"/>
              <a:t> check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Left</a:t>
            </a:r>
            <a:r>
              <a:rPr lang="de-DE" dirty="0" smtClean="0"/>
              <a:t> / </a:t>
            </a:r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neighbor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do not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endParaRPr lang="de-DE" dirty="0" smtClean="0"/>
          </a:p>
          <a:p>
            <a:pPr lvl="1"/>
            <a:r>
              <a:rPr lang="de-DE" dirty="0" smtClean="0"/>
              <a:t>Post-</a:t>
            </a:r>
            <a:r>
              <a:rPr lang="de-DE" dirty="0" err="1" smtClean="0"/>
              <a:t>Condition</a:t>
            </a:r>
            <a:r>
              <a:rPr lang="de-DE" dirty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after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6558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3427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left_right_dataflow_halo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550275" cy="300672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parallel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efaul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n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firstprivate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 \</a:t>
            </a:r>
            <a:b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tderr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b="1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*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get_slice_and_lock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  NWAY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unset_lock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-&gt;lock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>
          <a:xfrm>
            <a:off x="2525713" y="4724400"/>
            <a:ext cx="6481762" cy="2030413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typedef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endParaRPr lang="de-DE" sz="1400" b="1" dirty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lock_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lock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volatile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enum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s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} slice;</a:t>
            </a:r>
          </a:p>
        </p:txBody>
      </p:sp>
    </p:spTree>
    <p:extLst>
      <p:ext uri="{BB962C8B-B14F-4D97-AF65-F5344CB8AC3E}">
        <p14:creationId xmlns="" xmlns:p14="http://schemas.microsoft.com/office/powerpoint/2010/main" val="1551435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lic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ataflow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4451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slice.c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…)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NONE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||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w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++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defRPr/>
            </a:pP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297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897281" y="321842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4399" y="361010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04399" y="405450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28609" y="443764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20401" y="5187290"/>
            <a:ext cx="7571575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862279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684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 flipV="1">
            <a:off x="755650" y="4149725"/>
            <a:ext cx="0" cy="15827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0">
              <a:buNone/>
            </a:pPr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</a:t>
            </a:r>
          </a:p>
          <a:p>
            <a:pPr lvl="0"/>
            <a:r>
              <a:rPr lang="de-DE" dirty="0" err="1" smtClean="0"/>
              <a:t>Locall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loba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dataflow</a:t>
            </a:r>
            <a:r>
              <a:rPr lang="de-DE" dirty="0" smtClean="0"/>
              <a:t>.</a:t>
            </a:r>
          </a:p>
          <a:p>
            <a:endParaRPr lang="de-DE" dirty="0" smtClean="0"/>
          </a:p>
        </p:txBody>
      </p:sp>
      <p:sp>
        <p:nvSpPr>
          <p:cNvPr id="96" name="Textfeld 95"/>
          <p:cNvSpPr txBox="1"/>
          <p:nvPr/>
        </p:nvSpPr>
        <p:spPr>
          <a:xfrm rot="16200000">
            <a:off x="18619" y="475044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3B57A0"/>
                </a:solidFill>
              </a:rPr>
              <a:t>NITER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83" name="Rechteck 282"/>
          <p:cNvSpPr/>
          <p:nvPr/>
        </p:nvSpPr>
        <p:spPr bwMode="auto">
          <a:xfrm>
            <a:off x="1331913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4" name="Rechteck 283"/>
          <p:cNvSpPr/>
          <p:nvPr/>
        </p:nvSpPr>
        <p:spPr bwMode="auto">
          <a:xfrm>
            <a:off x="1692275" y="5373687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5" name="Rechteck 284"/>
          <p:cNvSpPr/>
          <p:nvPr/>
        </p:nvSpPr>
        <p:spPr bwMode="auto">
          <a:xfrm>
            <a:off x="2052638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6" name="Rechteck 285"/>
          <p:cNvSpPr/>
          <p:nvPr/>
        </p:nvSpPr>
        <p:spPr bwMode="auto">
          <a:xfrm>
            <a:off x="2411413" y="5373687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6" name="Rechteck 375"/>
          <p:cNvSpPr/>
          <p:nvPr/>
        </p:nvSpPr>
        <p:spPr bwMode="auto">
          <a:xfrm>
            <a:off x="2852737" y="5373688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7" name="Rechteck 376"/>
          <p:cNvSpPr/>
          <p:nvPr/>
        </p:nvSpPr>
        <p:spPr bwMode="auto">
          <a:xfrm>
            <a:off x="3213099" y="5373688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8" name="Rechteck 377"/>
          <p:cNvSpPr/>
          <p:nvPr/>
        </p:nvSpPr>
        <p:spPr bwMode="auto">
          <a:xfrm>
            <a:off x="3573462" y="5373688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9" name="Rechteck 378"/>
          <p:cNvSpPr/>
          <p:nvPr/>
        </p:nvSpPr>
        <p:spPr bwMode="auto">
          <a:xfrm>
            <a:off x="3932237" y="5373688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7" name="Rechteck 396"/>
          <p:cNvSpPr/>
          <p:nvPr/>
        </p:nvSpPr>
        <p:spPr bwMode="auto">
          <a:xfrm>
            <a:off x="5906516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8" name="Rechteck 397"/>
          <p:cNvSpPr/>
          <p:nvPr/>
        </p:nvSpPr>
        <p:spPr bwMode="auto">
          <a:xfrm>
            <a:off x="6266878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9" name="Rechteck 398"/>
          <p:cNvSpPr/>
          <p:nvPr/>
        </p:nvSpPr>
        <p:spPr bwMode="auto">
          <a:xfrm>
            <a:off x="6627241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0" name="Rechteck 399"/>
          <p:cNvSpPr/>
          <p:nvPr/>
        </p:nvSpPr>
        <p:spPr bwMode="auto">
          <a:xfrm>
            <a:off x="6986016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8" name="Rechteck 417"/>
          <p:cNvSpPr/>
          <p:nvPr/>
        </p:nvSpPr>
        <p:spPr bwMode="auto">
          <a:xfrm>
            <a:off x="4376421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9" name="Rechteck 418"/>
          <p:cNvSpPr/>
          <p:nvPr/>
        </p:nvSpPr>
        <p:spPr bwMode="auto">
          <a:xfrm>
            <a:off x="4736783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0" name="Rechteck 419"/>
          <p:cNvSpPr/>
          <p:nvPr/>
        </p:nvSpPr>
        <p:spPr bwMode="auto">
          <a:xfrm>
            <a:off x="5097146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1" name="Rechteck 420"/>
          <p:cNvSpPr/>
          <p:nvPr/>
        </p:nvSpPr>
        <p:spPr bwMode="auto">
          <a:xfrm>
            <a:off x="5455921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2" name="Gruppieren 102"/>
          <p:cNvGrpSpPr/>
          <p:nvPr/>
        </p:nvGrpSpPr>
        <p:grpSpPr>
          <a:xfrm>
            <a:off x="1692275" y="5072787"/>
            <a:ext cx="5222303" cy="156439"/>
            <a:chOff x="1692275" y="5072787"/>
            <a:chExt cx="5222303" cy="156439"/>
          </a:xfrm>
        </p:grpSpPr>
        <p:sp>
          <p:nvSpPr>
            <p:cNvPr id="303" name="Rechteck 302"/>
            <p:cNvSpPr/>
            <p:nvPr/>
          </p:nvSpPr>
          <p:spPr bwMode="auto">
            <a:xfrm>
              <a:off x="1692275" y="5084763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4" name="Rechteck 303"/>
            <p:cNvSpPr/>
            <p:nvPr/>
          </p:nvSpPr>
          <p:spPr bwMode="auto">
            <a:xfrm>
              <a:off x="2052638" y="5084763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3" name="Rechteck 372"/>
            <p:cNvSpPr/>
            <p:nvPr/>
          </p:nvSpPr>
          <p:spPr bwMode="auto">
            <a:xfrm>
              <a:off x="3213099" y="5084764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4" name="Rechteck 373"/>
            <p:cNvSpPr/>
            <p:nvPr/>
          </p:nvSpPr>
          <p:spPr bwMode="auto">
            <a:xfrm>
              <a:off x="3573462" y="5084764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4" name="Rechteck 393"/>
            <p:cNvSpPr/>
            <p:nvPr/>
          </p:nvSpPr>
          <p:spPr bwMode="auto">
            <a:xfrm>
              <a:off x="6266878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5" name="Rechteck 394"/>
            <p:cNvSpPr/>
            <p:nvPr/>
          </p:nvSpPr>
          <p:spPr bwMode="auto">
            <a:xfrm>
              <a:off x="6627241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5" name="Rechteck 414"/>
            <p:cNvSpPr/>
            <p:nvPr/>
          </p:nvSpPr>
          <p:spPr bwMode="auto">
            <a:xfrm>
              <a:off x="4736783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6" name="Rechteck 415"/>
            <p:cNvSpPr/>
            <p:nvPr/>
          </p:nvSpPr>
          <p:spPr bwMode="auto">
            <a:xfrm>
              <a:off x="5097146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3" name="Gruppieren 103"/>
          <p:cNvGrpSpPr/>
          <p:nvPr/>
        </p:nvGrpSpPr>
        <p:grpSpPr>
          <a:xfrm>
            <a:off x="1331913" y="4785449"/>
            <a:ext cx="5943028" cy="443777"/>
            <a:chOff x="1331913" y="4785449"/>
            <a:chExt cx="5943028" cy="443777"/>
          </a:xfrm>
        </p:grpSpPr>
        <p:sp>
          <p:nvSpPr>
            <p:cNvPr id="302" name="Rechteck 301"/>
            <p:cNvSpPr/>
            <p:nvPr/>
          </p:nvSpPr>
          <p:spPr bwMode="auto">
            <a:xfrm>
              <a:off x="1331913" y="5084763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5" name="Rechteck 304"/>
            <p:cNvSpPr/>
            <p:nvPr/>
          </p:nvSpPr>
          <p:spPr bwMode="auto">
            <a:xfrm>
              <a:off x="2411413" y="5084763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2" name="Rechteck 371"/>
            <p:cNvSpPr/>
            <p:nvPr/>
          </p:nvSpPr>
          <p:spPr bwMode="auto">
            <a:xfrm>
              <a:off x="2852737" y="5084764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5" name="Rechteck 374"/>
            <p:cNvSpPr/>
            <p:nvPr/>
          </p:nvSpPr>
          <p:spPr bwMode="auto">
            <a:xfrm>
              <a:off x="3932237" y="5084764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3" name="Rechteck 392"/>
            <p:cNvSpPr/>
            <p:nvPr/>
          </p:nvSpPr>
          <p:spPr bwMode="auto">
            <a:xfrm>
              <a:off x="5906516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6" name="Rechteck 395"/>
            <p:cNvSpPr/>
            <p:nvPr/>
          </p:nvSpPr>
          <p:spPr bwMode="auto">
            <a:xfrm>
              <a:off x="6986016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4" name="Rechteck 413"/>
            <p:cNvSpPr/>
            <p:nvPr/>
          </p:nvSpPr>
          <p:spPr bwMode="auto">
            <a:xfrm>
              <a:off x="4376421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7" name="Rechteck 416"/>
            <p:cNvSpPr/>
            <p:nvPr/>
          </p:nvSpPr>
          <p:spPr bwMode="auto">
            <a:xfrm>
              <a:off x="5455921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2" name="Rechteck 321"/>
            <p:cNvSpPr/>
            <p:nvPr/>
          </p:nvSpPr>
          <p:spPr bwMode="auto">
            <a:xfrm>
              <a:off x="1692274" y="4797425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3" name="Rechteck 322"/>
            <p:cNvSpPr/>
            <p:nvPr/>
          </p:nvSpPr>
          <p:spPr bwMode="auto">
            <a:xfrm>
              <a:off x="2052638" y="4797425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9" name="Rechteck 368"/>
            <p:cNvSpPr/>
            <p:nvPr/>
          </p:nvSpPr>
          <p:spPr bwMode="auto">
            <a:xfrm>
              <a:off x="3213098" y="4797426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0" name="Rechteck 369"/>
            <p:cNvSpPr/>
            <p:nvPr/>
          </p:nvSpPr>
          <p:spPr bwMode="auto">
            <a:xfrm>
              <a:off x="3573462" y="4797426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0" name="Rechteck 389"/>
            <p:cNvSpPr/>
            <p:nvPr/>
          </p:nvSpPr>
          <p:spPr bwMode="auto">
            <a:xfrm>
              <a:off x="6266877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1" name="Rechteck 390"/>
            <p:cNvSpPr/>
            <p:nvPr/>
          </p:nvSpPr>
          <p:spPr bwMode="auto">
            <a:xfrm>
              <a:off x="6627241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1" name="Rechteck 410"/>
            <p:cNvSpPr/>
            <p:nvPr/>
          </p:nvSpPr>
          <p:spPr bwMode="auto">
            <a:xfrm>
              <a:off x="4736782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2" name="Rechteck 411"/>
            <p:cNvSpPr/>
            <p:nvPr/>
          </p:nvSpPr>
          <p:spPr bwMode="auto">
            <a:xfrm>
              <a:off x="5097146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4" name="Gruppieren 104"/>
          <p:cNvGrpSpPr/>
          <p:nvPr/>
        </p:nvGrpSpPr>
        <p:grpSpPr>
          <a:xfrm>
            <a:off x="1321006" y="4496524"/>
            <a:ext cx="5953934" cy="445365"/>
            <a:chOff x="1321006" y="4496524"/>
            <a:chExt cx="5953934" cy="445365"/>
          </a:xfrm>
        </p:grpSpPr>
        <p:sp>
          <p:nvSpPr>
            <p:cNvPr id="321" name="Rechteck 320"/>
            <p:cNvSpPr/>
            <p:nvPr/>
          </p:nvSpPr>
          <p:spPr bwMode="auto">
            <a:xfrm>
              <a:off x="1321006" y="4797425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4" name="Rechteck 323"/>
            <p:cNvSpPr/>
            <p:nvPr/>
          </p:nvSpPr>
          <p:spPr bwMode="auto">
            <a:xfrm>
              <a:off x="2400505" y="4797425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8" name="Rechteck 367"/>
            <p:cNvSpPr/>
            <p:nvPr/>
          </p:nvSpPr>
          <p:spPr bwMode="auto">
            <a:xfrm>
              <a:off x="2841830" y="4797426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1" name="Rechteck 370"/>
            <p:cNvSpPr/>
            <p:nvPr/>
          </p:nvSpPr>
          <p:spPr bwMode="auto">
            <a:xfrm>
              <a:off x="3961016" y="4797426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9" name="Rechteck 388"/>
            <p:cNvSpPr/>
            <p:nvPr/>
          </p:nvSpPr>
          <p:spPr bwMode="auto">
            <a:xfrm>
              <a:off x="5906516" y="4785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2" name="Rechteck 391"/>
            <p:cNvSpPr/>
            <p:nvPr/>
          </p:nvSpPr>
          <p:spPr bwMode="auto">
            <a:xfrm>
              <a:off x="6986015" y="4785449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1" name="Rechteck 340"/>
            <p:cNvSpPr/>
            <p:nvPr/>
          </p:nvSpPr>
          <p:spPr bwMode="auto">
            <a:xfrm>
              <a:off x="1681368" y="4508500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2" name="Rechteck 341"/>
            <p:cNvSpPr/>
            <p:nvPr/>
          </p:nvSpPr>
          <p:spPr bwMode="auto">
            <a:xfrm>
              <a:off x="2041731" y="4508500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5" name="Rechteck 364"/>
            <p:cNvSpPr/>
            <p:nvPr/>
          </p:nvSpPr>
          <p:spPr bwMode="auto">
            <a:xfrm>
              <a:off x="3202192" y="4508501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6" name="Rechteck 365"/>
            <p:cNvSpPr/>
            <p:nvPr/>
          </p:nvSpPr>
          <p:spPr bwMode="auto">
            <a:xfrm>
              <a:off x="3587494" y="4508501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6" name="Rechteck 385"/>
            <p:cNvSpPr/>
            <p:nvPr/>
          </p:nvSpPr>
          <p:spPr bwMode="auto">
            <a:xfrm>
              <a:off x="6266878" y="4496524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7" name="Rechteck 386"/>
            <p:cNvSpPr/>
            <p:nvPr/>
          </p:nvSpPr>
          <p:spPr bwMode="auto">
            <a:xfrm>
              <a:off x="6627241" y="449652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90" name="Abgerundetes Rechteck 89"/>
          <p:cNvSpPr/>
          <p:nvPr/>
        </p:nvSpPr>
        <p:spPr>
          <a:xfrm>
            <a:off x="1247982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768806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4289630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5810454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5" name="Gruppieren 109"/>
          <p:cNvGrpSpPr/>
          <p:nvPr/>
        </p:nvGrpSpPr>
        <p:grpSpPr>
          <a:xfrm>
            <a:off x="1333451" y="4227512"/>
            <a:ext cx="1368424" cy="433388"/>
            <a:chOff x="1333451" y="4227512"/>
            <a:chExt cx="1368424" cy="433388"/>
          </a:xfrm>
        </p:grpSpPr>
        <p:sp>
          <p:nvSpPr>
            <p:cNvPr id="106" name="Rechteck 105"/>
            <p:cNvSpPr/>
            <p:nvPr/>
          </p:nvSpPr>
          <p:spPr bwMode="auto">
            <a:xfrm>
              <a:off x="1333451" y="4516437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7" name="Rechteck 106"/>
            <p:cNvSpPr/>
            <p:nvPr/>
          </p:nvSpPr>
          <p:spPr bwMode="auto">
            <a:xfrm>
              <a:off x="2412950" y="4516437"/>
              <a:ext cx="288925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1693813" y="4227512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9" name="Rechteck 108"/>
            <p:cNvSpPr/>
            <p:nvPr/>
          </p:nvSpPr>
          <p:spPr bwMode="auto">
            <a:xfrm>
              <a:off x="2054176" y="4227512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6" name="Gruppieren 114"/>
          <p:cNvGrpSpPr/>
          <p:nvPr/>
        </p:nvGrpSpPr>
        <p:grpSpPr>
          <a:xfrm>
            <a:off x="4351482" y="4488449"/>
            <a:ext cx="1408111" cy="433388"/>
            <a:chOff x="4351482" y="4488449"/>
            <a:chExt cx="1408111" cy="433388"/>
          </a:xfrm>
        </p:grpSpPr>
        <p:sp>
          <p:nvSpPr>
            <p:cNvPr id="111" name="Rechteck 110"/>
            <p:cNvSpPr/>
            <p:nvPr/>
          </p:nvSpPr>
          <p:spPr bwMode="auto">
            <a:xfrm>
              <a:off x="4351482" y="477737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470668" y="4777374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3" name="Rechteck 112"/>
            <p:cNvSpPr/>
            <p:nvPr/>
          </p:nvSpPr>
          <p:spPr bwMode="auto">
            <a:xfrm>
              <a:off x="4711844" y="4488449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4" name="Rechteck 113"/>
            <p:cNvSpPr/>
            <p:nvPr/>
          </p:nvSpPr>
          <p:spPr bwMode="auto">
            <a:xfrm>
              <a:off x="5097146" y="4488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</p:spTree>
    <p:extLst>
      <p:ext uri="{BB962C8B-B14F-4D97-AF65-F5344CB8AC3E}">
        <p14:creationId xmlns="" xmlns:p14="http://schemas.microsoft.com/office/powerpoint/2010/main" val="284961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>
                <a:solidFill>
                  <a:prstClr val="black">
                    <a:tint val="75000"/>
                  </a:prstClr>
                </a:solidFill>
              </a:rPr>
              <a:pPr/>
              <a:t>16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57568" y="1484313"/>
            <a:ext cx="5147353" cy="5762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 anchor="b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Bottom up: Complement local task dependencies </a:t>
            </a:r>
            <a:b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with remote data dependencies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rPr>
              <a:t>.</a:t>
            </a:r>
            <a:endParaRPr lang="en-US" sz="1600" dirty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08291" name="Freeform 3"/>
          <p:cNvSpPr>
            <a:spLocks/>
          </p:cNvSpPr>
          <p:nvPr/>
        </p:nvSpPr>
        <p:spPr bwMode="gray">
          <a:xfrm>
            <a:off x="3708400" y="2101671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908292" name="Freeform 4"/>
          <p:cNvSpPr>
            <a:spLocks/>
          </p:cNvSpPr>
          <p:nvPr/>
        </p:nvSpPr>
        <p:spPr bwMode="gray">
          <a:xfrm flipH="1" flipV="1">
            <a:off x="3708400" y="5433306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3866" y="6145212"/>
            <a:ext cx="6380251" cy="5762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Top Down: Reformulate towards asynchronous dataflow model. </a:t>
            </a:r>
          </a:p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Overlap communication and computation.</a:t>
            </a:r>
            <a:endParaRPr lang="en-US" sz="1600" dirty="0">
              <a:solidFill>
                <a:srgbClr val="3B57A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323850" y="2781300"/>
            <a:ext cx="4176713" cy="2591973"/>
            <a:chOff x="204" y="1752"/>
            <a:chExt cx="2631" cy="1568"/>
          </a:xfrm>
        </p:grpSpPr>
        <p:sp>
          <p:nvSpPr>
            <p:cNvPr id="908296" name="AutoShape 8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752"/>
              <a:ext cx="2631" cy="156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179388" lvl="1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Node local execution on (heterogeneous) </a:t>
              </a:r>
              <a:r>
                <a:rPr lang="en-US" sz="1600" dirty="0" err="1" smtClean="0">
                  <a:solidFill>
                    <a:prstClr val="black"/>
                  </a:solidFill>
                </a:rPr>
                <a:t>manycore</a:t>
              </a:r>
              <a:r>
                <a:rPr lang="en-US" sz="1600" dirty="0" smtClean="0">
                  <a:solidFill>
                    <a:prstClr val="black"/>
                  </a:solidFill>
                </a:rPr>
                <a:t> architectures. 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Scalability issues in Fork-Join model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Vertically fragmented memory, separation of access and execution, handling of data marshalling, tiling, etc.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Inherent node local load imbalance </a:t>
              </a:r>
            </a:p>
            <a:p>
              <a:pPr marL="358775" lvl="2" indent="-177800">
                <a:spcBef>
                  <a:spcPct val="25000"/>
                </a:spcBef>
              </a:pPr>
              <a:r>
                <a:rPr lang="en-US" sz="1400" dirty="0" smtClean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  <p:sp>
          <p:nvSpPr>
            <p:cNvPr id="908297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04" y="1752"/>
              <a:ext cx="2631" cy="204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4" y="1752"/>
              <a:ext cx="2631" cy="204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Task (Graph) Models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643438" y="2781300"/>
            <a:ext cx="4176712" cy="2592250"/>
            <a:chOff x="2925" y="1752"/>
            <a:chExt cx="2631" cy="1128"/>
          </a:xfrm>
        </p:grpSpPr>
        <p:sp>
          <p:nvSpPr>
            <p:cNvPr id="908300" name="AutoShape 12" descr="Verlauf_weiss_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25" y="1752"/>
              <a:ext cx="2631" cy="112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358775" lvl="2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: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Latency issues, overlap of communication and computation.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Asynchronous fine-grain dataflow model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Fault tolerance, system noise, jitter. </a:t>
              </a:r>
            </a:p>
          </p:txBody>
        </p:sp>
        <p:sp>
          <p:nvSpPr>
            <p:cNvPr id="908301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25" y="1752"/>
              <a:ext cx="2631" cy="147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4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25" y="1752"/>
              <a:ext cx="2631" cy="147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t" anchorCtr="0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GASPI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16" name="Titel 1"/>
          <p:cNvSpPr txBox="1">
            <a:spLocks/>
          </p:cNvSpPr>
          <p:nvPr/>
        </p:nvSpPr>
        <p:spPr>
          <a:xfrm>
            <a:off x="528638" y="606727"/>
            <a:ext cx="8229600" cy="99060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de-DE" sz="4400" b="1" dirty="0" smtClean="0">
                <a:solidFill>
                  <a:srgbClr val="3B57A0"/>
                </a:solidFill>
                <a:latin typeface="Calibri"/>
              </a:rPr>
              <a:t>Task (Graph) Models</a:t>
            </a:r>
            <a:endParaRPr lang="de-DE" sz="4400" b="1" dirty="0">
              <a:solidFill>
                <a:srgbClr val="3B57A0"/>
              </a:solidFill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6452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r>
              <a:rPr lang="de-DE" dirty="0" smtClean="0"/>
              <a:t>?</a:t>
            </a:r>
          </a:p>
        </p:txBody>
      </p:sp>
      <p:sp>
        <p:nvSpPr>
          <p:cNvPr id="10137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Thank you for your attention</a:t>
            </a:r>
          </a:p>
        </p:txBody>
      </p:sp>
      <p:sp>
        <p:nvSpPr>
          <p:cNvPr id="101380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1381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/>
              <a:t>site</a:t>
            </a:r>
            <a:r>
              <a:rPr lang="de-DE" sz="2400" dirty="0"/>
              <a:t>. </a:t>
            </a:r>
            <a:endParaRPr lang="de-DE" sz="2400" dirty="0" smtClean="0"/>
          </a:p>
          <a:p>
            <a:pPr eaLnBrk="1" hangingPunct="1"/>
            <a:r>
              <a:rPr lang="de-DE" sz="2400" dirty="0" smtClean="0">
                <a:latin typeface="+mj-lt"/>
                <a:cs typeface="Times New Roman"/>
              </a:rPr>
              <a:t>Remote </a:t>
            </a:r>
            <a:r>
              <a:rPr lang="de-DE" sz="2400" dirty="0" err="1" smtClean="0">
                <a:latin typeface="+mj-lt"/>
                <a:cs typeface="Times New Roman"/>
              </a:rPr>
              <a:t>sides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v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to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know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bout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-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</a:t>
            </a:r>
            <a:r>
              <a:rPr lang="de-DE" sz="2400" dirty="0" smtClean="0">
                <a:latin typeface="+mj-lt"/>
                <a:cs typeface="Times New Roman"/>
              </a:rPr>
              <a:t>(s) </a:t>
            </a:r>
            <a:r>
              <a:rPr lang="de-DE" sz="2400" dirty="0" err="1" smtClean="0">
                <a:latin typeface="+mj-lt"/>
                <a:cs typeface="Times New Roman"/>
              </a:rPr>
              <a:t>befo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nd</a:t>
            </a:r>
            <a:endParaRPr lang="de-DE" sz="2400" dirty="0" smtClean="0">
              <a:latin typeface="+mj-lt"/>
              <a:cs typeface="Times New Roman"/>
            </a:endParaRPr>
          </a:p>
          <a:p>
            <a:pPr eaLnBrk="1" hangingPunct="1"/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s</a:t>
            </a:r>
            <a:r>
              <a:rPr lang="de-DE" sz="2400" dirty="0" smtClean="0">
                <a:latin typeface="+mj-lt"/>
                <a:cs typeface="Times New Roman"/>
              </a:rPr>
              <a:t> in GASPI </a:t>
            </a:r>
            <a:r>
              <a:rPr lang="de-DE" sz="2400" dirty="0" err="1" smtClean="0">
                <a:latin typeface="+mj-lt"/>
                <a:cs typeface="Times New Roman"/>
              </a:rPr>
              <a:t>a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all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segments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53786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3984172"/>
            <a:ext cx="4105469" cy="217005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manage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ely</a:t>
            </a:r>
            <a:r>
              <a:rPr lang="de-DE" sz="2400" dirty="0" smtClean="0"/>
              <a:t>:</a:t>
            </a:r>
          </a:p>
          <a:p>
            <a:pPr eaLnBrk="1" hangingPunct="1"/>
            <a:r>
              <a:rPr lang="de-DE" sz="2400" dirty="0" err="1" smtClean="0"/>
              <a:t>Specify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will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red</a:t>
            </a:r>
            <a:r>
              <a:rPr lang="de-DE" sz="2400" dirty="0" smtClean="0"/>
              <a:t> (</a:t>
            </a:r>
            <a:r>
              <a:rPr lang="de-DE" sz="2400" dirty="0" err="1" smtClean="0"/>
              <a:t>offset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>) 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Flowchart: Connector 1"/>
          <p:cNvSpPr/>
          <p:nvPr/>
        </p:nvSpPr>
        <p:spPr>
          <a:xfrm>
            <a:off x="4665305" y="3310036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62585" y="3151435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rot="-5400000">
            <a:off x="4163055" y="3497929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/>
          <p:cNvCxnSpPr>
            <a:stCxn id="2" idx="4"/>
          </p:cNvCxnSpPr>
          <p:nvPr/>
        </p:nvCxnSpPr>
        <p:spPr>
          <a:xfrm>
            <a:off x="4722455" y="3424336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825096" y="3377683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Flowchart: Connector 27"/>
          <p:cNvSpPr/>
          <p:nvPr/>
        </p:nvSpPr>
        <p:spPr>
          <a:xfrm>
            <a:off x="7598343" y="4339550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6795623" y="4180949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rot="-5400000">
            <a:off x="7096093" y="4527443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31" name="Straight Connector 30"/>
          <p:cNvCxnSpPr>
            <a:stCxn id="28" idx="4"/>
          </p:cNvCxnSpPr>
          <p:nvPr/>
        </p:nvCxnSpPr>
        <p:spPr>
          <a:xfrm>
            <a:off x="7655493" y="4453850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758134" y="4407197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8047152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723942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accessed</a:t>
            </a:r>
            <a:r>
              <a:rPr lang="de-DE" sz="2400" dirty="0" smtClean="0"/>
              <a:t> </a:t>
            </a:r>
            <a:r>
              <a:rPr lang="de-DE" sz="2400" dirty="0" err="1" smtClean="0"/>
              <a:t>without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: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triggered</a:t>
            </a:r>
            <a:r>
              <a:rPr lang="de-DE" sz="2400" dirty="0" smtClean="0"/>
              <a:t> but </a:t>
            </a:r>
            <a:r>
              <a:rPr lang="de-DE" sz="2400" dirty="0" err="1" smtClean="0"/>
              <a:t>may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84154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edu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9:00h 				</a:t>
            </a:r>
            <a:r>
              <a:rPr lang="de-DE" dirty="0" err="1" smtClean="0"/>
              <a:t>begin</a:t>
            </a:r>
            <a:endParaRPr lang="de-DE" dirty="0" smtClean="0"/>
          </a:p>
          <a:p>
            <a:r>
              <a:rPr lang="de-DE" dirty="0" smtClean="0"/>
              <a:t>10:15h-10:30h 	break</a:t>
            </a:r>
          </a:p>
          <a:p>
            <a:r>
              <a:rPr lang="de-DE" dirty="0" smtClean="0"/>
              <a:t>11:45h-12:00h	break</a:t>
            </a:r>
          </a:p>
          <a:p>
            <a:r>
              <a:rPr lang="de-DE" dirty="0" smtClean="0"/>
              <a:t>13:00h-14:00h	lunch</a:t>
            </a:r>
          </a:p>
          <a:p>
            <a:r>
              <a:rPr lang="de-DE" dirty="0" smtClean="0"/>
              <a:t>15:15h-15:30h	break</a:t>
            </a:r>
          </a:p>
          <a:p>
            <a:r>
              <a:rPr lang="de-DE" dirty="0" smtClean="0"/>
              <a:t>17:00					end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4813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23410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953954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movement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ion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1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need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know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also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130094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ue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 </a:t>
            </a:r>
            <a:r>
              <a:rPr lang="de-DE" sz="2400" dirty="0" err="1" smtClean="0"/>
              <a:t>nature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call</a:t>
            </a:r>
            <a:r>
              <a:rPr lang="de-DE" sz="2400" dirty="0" smtClean="0"/>
              <a:t> </a:t>
            </a:r>
            <a:r>
              <a:rPr lang="de-DE" sz="2400" dirty="0" err="1" smtClean="0"/>
              <a:t>Node</a:t>
            </a:r>
            <a:r>
              <a:rPr lang="de-DE" sz="2400" dirty="0"/>
              <a:t> </a:t>
            </a:r>
            <a:r>
              <a:rPr lang="de-DE" sz="2400" dirty="0" smtClean="0"/>
              <a:t>1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gained</a:t>
            </a:r>
            <a:r>
              <a:rPr lang="de-DE" sz="2400" dirty="0" smtClean="0"/>
              <a:t> </a:t>
            </a:r>
            <a:r>
              <a:rPr lang="de-DE" sz="2400" dirty="0" err="1" smtClean="0"/>
              <a:t>some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time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happen in parallel</a:t>
            </a:r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latency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hidden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5284219" y="4177353"/>
            <a:ext cx="6235" cy="1976874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-5400000">
            <a:off x="4725955" y="4750292"/>
            <a:ext cx="18194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Computation</a:t>
            </a:r>
            <a:endParaRPr lang="de-DE" sz="2400" dirty="0" smtClean="0">
              <a:solidFill>
                <a:srgbClr val="3B57A0"/>
              </a:solidFill>
              <a:latin typeface="Calibri"/>
              <a:cs typeface="+mn-cs"/>
            </a:endParaRPr>
          </a:p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859810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&quot;No&quot; Symbol 25"/>
          <p:cNvSpPr/>
          <p:nvPr/>
        </p:nvSpPr>
        <p:spPr>
          <a:xfrm>
            <a:off x="5093264" y="4103732"/>
            <a:ext cx="1018775" cy="1005222"/>
          </a:xfrm>
          <a:prstGeom prst="noSmoking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Warning</a:t>
            </a:r>
            <a:r>
              <a:rPr lang="de-DE" dirty="0" smtClean="0"/>
              <a:t>!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>
                <a:solidFill>
                  <a:srgbClr val="FF0000"/>
                </a:solidFill>
              </a:rPr>
              <a:t>Data </a:t>
            </a:r>
            <a:r>
              <a:rPr lang="de-DE" sz="2400" dirty="0" err="1" smtClean="0">
                <a:solidFill>
                  <a:srgbClr val="FF0000"/>
                </a:solidFill>
              </a:rPr>
              <a:t>synchronisation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by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wait</a:t>
            </a:r>
            <a:r>
              <a:rPr lang="de-DE" sz="2400" dirty="0" smtClean="0">
                <a:solidFill>
                  <a:srgbClr val="FF0000"/>
                </a:solidFill>
              </a:rPr>
              <a:t> + </a:t>
            </a:r>
            <a:r>
              <a:rPr lang="de-DE" sz="2400" dirty="0" err="1" smtClean="0">
                <a:solidFill>
                  <a:srgbClr val="FF0000"/>
                </a:solidFill>
              </a:rPr>
              <a:t>barrier</a:t>
            </a:r>
            <a:r>
              <a:rPr lang="de-DE" sz="2400" dirty="0" smtClean="0">
                <a:solidFill>
                  <a:srgbClr val="FF0000"/>
                </a:solidFill>
              </a:rPr>
              <a:t>  </a:t>
            </a:r>
            <a:r>
              <a:rPr lang="de-DE" sz="2400" dirty="0" err="1" smtClean="0">
                <a:solidFill>
                  <a:srgbClr val="FF0000"/>
                </a:solidFill>
              </a:rPr>
              <a:t>does</a:t>
            </a:r>
            <a:r>
              <a:rPr lang="de-DE" sz="2400" dirty="0" smtClean="0">
                <a:solidFill>
                  <a:srgbClr val="FF0000"/>
                </a:solidFill>
              </a:rPr>
              <a:t> not </a:t>
            </a:r>
            <a:r>
              <a:rPr lang="de-DE" sz="2400" dirty="0" err="1" smtClean="0">
                <a:solidFill>
                  <a:srgbClr val="FF0000"/>
                </a:solidFill>
              </a:rPr>
              <a:t>work</a:t>
            </a:r>
            <a:r>
              <a:rPr lang="de-DE" sz="2400" dirty="0" smtClean="0">
                <a:solidFill>
                  <a:srgbClr val="FF0000"/>
                </a:solidFill>
              </a:rPr>
              <a:t>!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Wa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</a:t>
            </a:r>
            <a:r>
              <a:rPr lang="de-DE" sz="2400" dirty="0" err="1" smtClean="0"/>
              <a:t>wait</a:t>
            </a:r>
            <a:r>
              <a:rPr lang="de-DE" sz="2400" dirty="0" smtClean="0"/>
              <a:t> on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on </a:t>
            </a:r>
            <a:r>
              <a:rPr lang="de-DE" sz="2400" dirty="0" err="1" smtClean="0"/>
              <a:t>Node</a:t>
            </a:r>
            <a:r>
              <a:rPr lang="de-DE" sz="2400" dirty="0" smtClean="0"/>
              <a:t> 1,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about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in </a:t>
            </a:r>
            <a:r>
              <a:rPr lang="de-DE" sz="2400" dirty="0" err="1" smtClean="0"/>
              <a:t>Node</a:t>
            </a:r>
            <a:r>
              <a:rPr lang="de-DE" sz="2400" dirty="0" smtClean="0"/>
              <a:t> 2, </a:t>
            </a:r>
            <a:r>
              <a:rPr lang="de-DE" sz="2400" dirty="0" err="1" smtClean="0"/>
              <a:t>barrier</a:t>
            </a:r>
            <a:r>
              <a:rPr lang="de-DE" sz="2400" dirty="0" smtClean="0"/>
              <a:t>()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rel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synchronization</a:t>
            </a:r>
            <a:r>
              <a:rPr lang="de-DE" sz="2400" dirty="0"/>
              <a:t> </a:t>
            </a:r>
            <a:r>
              <a:rPr lang="de-DE" sz="2400" dirty="0" err="1"/>
              <a:t>only</a:t>
            </a:r>
            <a:r>
              <a:rPr lang="de-DE" sz="2400" dirty="0"/>
              <a:t> </a:t>
            </a:r>
            <a:r>
              <a:rPr lang="de-DE" sz="2400" dirty="0" err="1"/>
              <a:t>by</a:t>
            </a:r>
            <a:r>
              <a:rPr lang="de-DE" sz="2400" dirty="0"/>
              <a:t> </a:t>
            </a:r>
            <a:r>
              <a:rPr lang="de-DE" sz="2400" dirty="0" err="1"/>
              <a:t>notifications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1604865"/>
            <a:ext cx="0" cy="5122506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2911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8" name="Straight Arrow Connector 17"/>
          <p:cNvCxnSpPr>
            <a:stCxn id="23" idx="2"/>
          </p:cNvCxnSpPr>
          <p:nvPr/>
        </p:nvCxnSpPr>
        <p:spPr>
          <a:xfrm>
            <a:off x="5586168" y="4194655"/>
            <a:ext cx="0" cy="888974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225460" y="3732990"/>
            <a:ext cx="7214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ait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115355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  <p:sp>
        <p:nvSpPr>
          <p:cNvPr id="19" name="Rectangle 26"/>
          <p:cNvSpPr/>
          <p:nvPr/>
        </p:nvSpPr>
        <p:spPr>
          <a:xfrm>
            <a:off x="7370823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24648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Communication Queue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418097"/>
            <a:ext cx="4105469" cy="3736130"/>
          </a:xfrm>
        </p:spPr>
        <p:txBody>
          <a:bodyPr/>
          <a:lstStyle/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post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queue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a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concept</a:t>
            </a:r>
            <a:r>
              <a:rPr lang="de-DE" sz="2400" dirty="0" smtClean="0"/>
              <a:t>!</a:t>
            </a:r>
          </a:p>
          <a:p>
            <a:pPr eaLnBrk="1" hangingPunct="1"/>
            <a:r>
              <a:rPr lang="de-DE" sz="2400" dirty="0" err="1" smtClean="0"/>
              <a:t>Us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separate </a:t>
            </a:r>
            <a:r>
              <a:rPr lang="de-DE" sz="2400" dirty="0" err="1" smtClean="0"/>
              <a:t>concer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part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 in order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establish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 </a:t>
            </a:r>
            <a:r>
              <a:rPr lang="de-DE" sz="2400" dirty="0" err="1" smtClean="0"/>
              <a:t>synchronization</a:t>
            </a:r>
            <a:r>
              <a:rPr lang="de-DE" sz="2400" dirty="0" smtClean="0"/>
              <a:t> </a:t>
            </a:r>
            <a:r>
              <a:rPr lang="de-DE" sz="2400" dirty="0" err="1" smtClean="0"/>
              <a:t>context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/>
        </p:nvSpPr>
        <p:spPr>
          <a:xfrm>
            <a:off x="4889241" y="418944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1</a:t>
            </a:r>
            <a:endParaRPr lang="en-US" sz="2400" dirty="0"/>
          </a:p>
        </p:txBody>
      </p:sp>
      <p:sp>
        <p:nvSpPr>
          <p:cNvPr id="22" name="Rectangle 21"/>
          <p:cNvSpPr/>
          <p:nvPr/>
        </p:nvSpPr>
        <p:spPr>
          <a:xfrm>
            <a:off x="63125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2</a:t>
            </a:r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77730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3</a:t>
            </a:r>
            <a:endParaRPr lang="en-US" sz="2400" dirty="0"/>
          </a:p>
        </p:txBody>
      </p:sp>
      <p:sp>
        <p:nvSpPr>
          <p:cNvPr id="5" name="Block Arc 4"/>
          <p:cNvSpPr/>
          <p:nvPr/>
        </p:nvSpPr>
        <p:spPr>
          <a:xfrm>
            <a:off x="5624576" y="2418097"/>
            <a:ext cx="2741419" cy="1321998"/>
          </a:xfrm>
          <a:prstGeom prst="blockArc">
            <a:avLst>
              <a:gd name="adj1" fmla="val 10729327"/>
              <a:gd name="adj2" fmla="val 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r>
              <a:rPr lang="de-DE" dirty="0" smtClean="0">
                <a:solidFill>
                  <a:schemeClr val="accent1"/>
                </a:solidFill>
              </a:rPr>
              <a:t>Communication </a:t>
            </a:r>
          </a:p>
          <a:p>
            <a:pPr algn="ctr"/>
            <a:r>
              <a:rPr lang="de-DE" dirty="0" err="1" smtClean="0">
                <a:solidFill>
                  <a:schemeClr val="accent1"/>
                </a:solidFill>
              </a:rPr>
              <a:t>agnostic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queues</a:t>
            </a:r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9" name="Straight Connector 8"/>
          <p:cNvCxnSpPr>
            <a:endCxn id="61" idx="0"/>
          </p:cNvCxnSpPr>
          <p:nvPr/>
        </p:nvCxnSpPr>
        <p:spPr>
          <a:xfrm flipV="1">
            <a:off x="4889241" y="3107094"/>
            <a:ext cx="755779" cy="1091681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5952931" y="3079097"/>
            <a:ext cx="111967" cy="111967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 flipV="1">
            <a:off x="8360909" y="3079097"/>
            <a:ext cx="576051" cy="1119678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829065" y="3079097"/>
            <a:ext cx="195262" cy="111034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791610" y="5141153"/>
            <a:ext cx="620145" cy="0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5469658" y="4938313"/>
            <a:ext cx="3262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1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main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pp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. 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5482093" y="5379974"/>
            <a:ext cx="29267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2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librar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4791610" y="5564640"/>
            <a:ext cx="620145" cy="0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5" idx="0"/>
          </p:cNvCxnSpPr>
          <p:nvPr/>
        </p:nvCxnSpPr>
        <p:spPr>
          <a:xfrm flipH="1">
            <a:off x="5411756" y="3103846"/>
            <a:ext cx="379777" cy="1122918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23" idx="0"/>
          </p:cNvCxnSpPr>
          <p:nvPr/>
        </p:nvCxnSpPr>
        <p:spPr>
          <a:xfrm>
            <a:off x="8208843" y="3079096"/>
            <a:ext cx="152067" cy="1119679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4791610" y="5962248"/>
            <a:ext cx="620145" cy="0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5447873" y="5877621"/>
            <a:ext cx="32962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Incoming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data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gnostic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of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queue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sp>
        <p:nvSpPr>
          <p:cNvPr id="60" name="Freeform 59"/>
          <p:cNvSpPr/>
          <p:nvPr/>
        </p:nvSpPr>
        <p:spPr>
          <a:xfrm>
            <a:off x="8052318" y="3060441"/>
            <a:ext cx="356538" cy="923730"/>
          </a:xfrm>
          <a:custGeom>
            <a:avLst/>
            <a:gdLst>
              <a:gd name="connsiteX0" fmla="*/ 0 w 354564"/>
              <a:gd name="connsiteY0" fmla="*/ 9330 h 802432"/>
              <a:gd name="connsiteX1" fmla="*/ 205274 w 354564"/>
              <a:gd name="connsiteY1" fmla="*/ 802432 h 802432"/>
              <a:gd name="connsiteX2" fmla="*/ 354564 w 354564"/>
              <a:gd name="connsiteY2" fmla="*/ 746449 h 802432"/>
              <a:gd name="connsiteX3" fmla="*/ 326572 w 354564"/>
              <a:gd name="connsiteY3" fmla="*/ 0 h 802432"/>
              <a:gd name="connsiteX4" fmla="*/ 0 w 354564"/>
              <a:gd name="connsiteY4" fmla="*/ 933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564" h="802432">
                <a:moveTo>
                  <a:pt x="0" y="9330"/>
                </a:moveTo>
                <a:lnTo>
                  <a:pt x="205274" y="802432"/>
                </a:lnTo>
                <a:lnTo>
                  <a:pt x="354564" y="746449"/>
                </a:lnTo>
                <a:lnTo>
                  <a:pt x="326572" y="0"/>
                </a:lnTo>
                <a:lnTo>
                  <a:pt x="0" y="9330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60"/>
          <p:cNvSpPr/>
          <p:nvPr/>
        </p:nvSpPr>
        <p:spPr>
          <a:xfrm>
            <a:off x="5467739" y="3051110"/>
            <a:ext cx="475861" cy="858417"/>
          </a:xfrm>
          <a:custGeom>
            <a:avLst/>
            <a:gdLst>
              <a:gd name="connsiteX0" fmla="*/ 177281 w 475861"/>
              <a:gd name="connsiteY0" fmla="*/ 55984 h 858417"/>
              <a:gd name="connsiteX1" fmla="*/ 0 w 475861"/>
              <a:gd name="connsiteY1" fmla="*/ 858417 h 858417"/>
              <a:gd name="connsiteX2" fmla="*/ 121298 w 475861"/>
              <a:gd name="connsiteY2" fmla="*/ 858417 h 858417"/>
              <a:gd name="connsiteX3" fmla="*/ 475861 w 475861"/>
              <a:gd name="connsiteY3" fmla="*/ 0 h 858417"/>
              <a:gd name="connsiteX4" fmla="*/ 177281 w 475861"/>
              <a:gd name="connsiteY4" fmla="*/ 55984 h 85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861" h="858417">
                <a:moveTo>
                  <a:pt x="177281" y="55984"/>
                </a:moveTo>
                <a:lnTo>
                  <a:pt x="0" y="858417"/>
                </a:lnTo>
                <a:lnTo>
                  <a:pt x="121298" y="858417"/>
                </a:lnTo>
                <a:lnTo>
                  <a:pt x="475861" y="0"/>
                </a:lnTo>
                <a:lnTo>
                  <a:pt x="177281" y="55984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8124204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The GASPI AP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/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52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24 </a:t>
            </a:r>
            <a:r>
              <a:rPr lang="de-DE" dirty="0" err="1" smtClean="0"/>
              <a:t>getter</a:t>
            </a:r>
            <a:r>
              <a:rPr lang="de-DE" dirty="0" smtClean="0"/>
              <a:t>/</a:t>
            </a:r>
            <a:r>
              <a:rPr lang="de-DE" dirty="0" err="1" smtClean="0"/>
              <a:t>sette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108 </a:t>
            </a:r>
            <a:r>
              <a:rPr lang="de-DE" dirty="0" err="1" smtClean="0"/>
              <a:t>page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dirty="0" smtClean="0"/>
              <a:t>  … but in </a:t>
            </a:r>
            <a:r>
              <a:rPr lang="de-DE" dirty="0" err="1" smtClean="0"/>
              <a:t>reality</a:t>
            </a:r>
            <a:r>
              <a:rPr lang="de-DE" dirty="0" smtClean="0"/>
              <a:t>: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err="1" smtClean="0"/>
              <a:t>Init</a:t>
            </a:r>
            <a:r>
              <a:rPr lang="de-DE" dirty="0" smtClean="0"/>
              <a:t>/Term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Segment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Read/Writ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Passive Communication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lobal </a:t>
            </a:r>
            <a:r>
              <a:rPr lang="de-DE" dirty="0" err="1" smtClean="0"/>
              <a:t>Atomic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 smtClean="0"/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roup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llectiv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b="1" dirty="0" smtClean="0"/>
              <a:t>www.gaspi.d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de-DE" dirty="0"/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/>
          <a:srcRect l="38680" t="38977" r="39139" b="24072"/>
          <a:stretch>
            <a:fillRect/>
          </a:stretch>
        </p:blipFill>
        <p:spPr bwMode="auto">
          <a:xfrm>
            <a:off x="5056188" y="2114550"/>
            <a:ext cx="3819525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Execution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</p:txBody>
      </p:sp>
      <p:sp>
        <p:nvSpPr>
          <p:cNvPr id="317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smtClean="0"/>
              <a:t>SPMD / MPMD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prefix</a:t>
            </a:r>
            <a:r>
              <a:rPr lang="de-DE" dirty="0" smtClean="0"/>
              <a:t> </a:t>
            </a:r>
            <a:r>
              <a:rPr lang="de-DE" dirty="0" err="1" smtClean="0"/>
              <a:t>gaspi</a:t>
            </a:r>
            <a:r>
              <a:rPr lang="de-DE" dirty="0" smtClean="0"/>
              <a:t>_</a:t>
            </a:r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return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endParaRPr lang="de-DE" dirty="0" smtClean="0"/>
          </a:p>
          <a:p>
            <a:r>
              <a:rPr lang="de-DE" dirty="0" smtClean="0"/>
              <a:t>Timeout </a:t>
            </a:r>
            <a:r>
              <a:rPr lang="de-DE" dirty="0" err="1" smtClean="0"/>
              <a:t>mechanism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otentially</a:t>
            </a:r>
            <a:r>
              <a:rPr lang="de-DE" dirty="0" smtClean="0"/>
              <a:t> </a:t>
            </a:r>
            <a:r>
              <a:rPr lang="de-DE" dirty="0" err="1" smtClean="0"/>
              <a:t>blocking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endParaRPr lang="de-DE" dirty="0" smtClean="0"/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35038" y="3278188"/>
            <a:ext cx="5357707" cy="4876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Return Values</a:t>
            </a:r>
          </a:p>
        </p:txBody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382000" cy="42291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s</a:t>
            </a:r>
            <a:r>
              <a:rPr lang="de-DE" sz="2800" dirty="0" smtClean="0"/>
              <a:t>: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SUCCESS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success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d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IMEOUT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finished</a:t>
            </a:r>
            <a:r>
              <a:rPr lang="de-DE" sz="2000" dirty="0" smtClean="0"/>
              <a:t> in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given</a:t>
            </a:r>
            <a:r>
              <a:rPr lang="de-DE" sz="2000" dirty="0" smtClean="0"/>
              <a:t> </a:t>
            </a:r>
            <a:r>
              <a:rPr lang="de-DE" sz="2000" dirty="0" smtClean="0"/>
              <a:t>time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not </a:t>
            </a:r>
            <a:r>
              <a:rPr lang="de-DE" sz="2000" dirty="0" err="1" smtClean="0"/>
              <a:t>necessarily</a:t>
            </a:r>
            <a:r>
              <a:rPr lang="de-DE" sz="2000" dirty="0" smtClean="0"/>
              <a:t> an </a:t>
            </a:r>
            <a:r>
              <a:rPr lang="de-DE" sz="2000" dirty="0" err="1" smtClean="0"/>
              <a:t>error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invoked</a:t>
            </a:r>
            <a:r>
              <a:rPr lang="de-DE" sz="2000" dirty="0" smtClean="0"/>
              <a:t> </a:t>
            </a:r>
            <a:r>
              <a:rPr lang="de-DE" sz="2000" dirty="0" err="1" smtClean="0"/>
              <a:t>subsequently</a:t>
            </a:r>
            <a:r>
              <a:rPr lang="de-DE" sz="2000" dirty="0" smtClean="0"/>
              <a:t> in order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dirty="0" smtClean="0"/>
              <a:t>GASPI_QUEUE_FULL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Request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post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. End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been</a:t>
            </a:r>
            <a:r>
              <a:rPr lang="de-DE" sz="2000" dirty="0" smtClean="0"/>
              <a:t> </a:t>
            </a:r>
            <a:r>
              <a:rPr lang="de-DE" sz="2000" dirty="0" err="1" smtClean="0"/>
              <a:t>reached</a:t>
            </a:r>
            <a:r>
              <a:rPr lang="de-DE" sz="2000" dirty="0" smtClean="0"/>
              <a:t>, </a:t>
            </a:r>
            <a:r>
              <a:rPr lang="de-DE" sz="2000" dirty="0" err="1" smtClean="0"/>
              <a:t>change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or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ERROR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-&gt; check </a:t>
            </a:r>
            <a:r>
              <a:rPr lang="de-DE" sz="2000" dirty="0" err="1" smtClean="0"/>
              <a:t>error</a:t>
            </a:r>
            <a:r>
              <a:rPr lang="de-DE" sz="2000" dirty="0" smtClean="0"/>
              <a:t> </a:t>
            </a:r>
            <a:r>
              <a:rPr lang="de-DE" sz="2000" dirty="0" err="1" smtClean="0"/>
              <a:t>vector</a:t>
            </a:r>
            <a:endParaRPr lang="de-DE" sz="2000" dirty="0" smtClean="0"/>
          </a:p>
          <a:p>
            <a:pPr>
              <a:lnSpc>
                <a:spcPct val="80000"/>
              </a:lnSpc>
            </a:pPr>
            <a:r>
              <a:rPr lang="de-DE" sz="2800" dirty="0" err="1" smtClean="0"/>
              <a:t>Advice</a:t>
            </a:r>
            <a:r>
              <a:rPr lang="de-DE" sz="2800" dirty="0" smtClean="0"/>
              <a:t>: </a:t>
            </a:r>
            <a:r>
              <a:rPr lang="de-DE" sz="2800" dirty="0" err="1" smtClean="0"/>
              <a:t>Always</a:t>
            </a:r>
            <a:r>
              <a:rPr lang="de-DE" sz="2800" dirty="0" smtClean="0"/>
              <a:t> check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Questionnai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hlinkClick r:id="rId2"/>
            </a:endParaRPr>
          </a:p>
          <a:p>
            <a:pPr marL="0" indent="0">
              <a:buNone/>
            </a:pPr>
            <a:r>
              <a:rPr lang="de-DE" dirty="0" smtClean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www.surveymonkey.co.uk/r/RPH2333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en-US" b="1" dirty="0" err="1" smtClean="0"/>
              <a:t>INTERTWinE</a:t>
            </a:r>
            <a:r>
              <a:rPr lang="en-US" b="1" dirty="0" smtClean="0"/>
              <a:t> - Programming Model </a:t>
            </a:r>
            <a:r>
              <a:rPr lang="en-US" b="1" dirty="0" err="1" smtClean="0"/>
              <a:t>INTERoperability</a:t>
            </a:r>
            <a:r>
              <a:rPr lang="en-US" b="1" dirty="0" smtClean="0"/>
              <a:t> </a:t>
            </a:r>
            <a:r>
              <a:rPr lang="en-US" b="1" dirty="0" err="1"/>
              <a:t>ToWards</a:t>
            </a:r>
            <a:r>
              <a:rPr lang="en-US" b="1" dirty="0"/>
              <a:t> </a:t>
            </a:r>
            <a:r>
              <a:rPr lang="en-US" b="1" dirty="0" err="1"/>
              <a:t>Exascale</a:t>
            </a:r>
            <a:endParaRPr lang="en-US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AutoShape 2" descr="data:image/jpeg;base64,/9j/4AAQSkZJRgABAQAAAQABAAD/2wCEAAkGBxMTEhUQExEWFRMXGBoaGRcYFxkYFxkfFxoYGB8fHxcYHSgiGB8lHxsYIj0iJS0tLy4uGCEzODMsNygtMCsBCgoKDg0OGxAQGi0lHyYtLy4vLTAyLy4vLSsuMC0tLS0tLS0tLS0tLS0tLS0tLzAtLS0tLS0tLS0tLS0tLS0tLf/AABEIAIwAoAMBEQACEQEDEQH/xAAcAAABBQEBAQAAAAAAAAAAAAAAAgMEBQcGAQj/xABDEAACAQIDBAcECAIIBwAAAAABAgMAEQQSIQUxQVEGEyIyYXGBB0JSkRQjM2JygqGxksEVJENjc6LR8BY0U5PC0uH/xAAbAQEAAwEBAQEAAAAAAAAAAAAAAQIDBAUGB//EADURAAIBAgMECQMDBAMAAAAAAAABAgMRITFRBBJBYRMiMnGBkaGx0QXB4RQj8EJicrIGM1L/2gAMAwEAAhEDEQA/ANxoAoAoAoAoAoAoCi2xiJziYsPHKIlkR2zdXnN0K3AuQBo3juqDsoxp9FKpKN2muNsyNtIT4TJN9JeZTIiOjquokYLdSoFiCb21vQvS6OveG4k7Npq/DHG501ScBy/S/ZUSQYjFKGWUKWzK7qb7huNQehsVacqkKbyvoiy2fsQRFX66YkDUNKzKdOTE1JhU2hzTW6vJItqHMQYNohsRJhwpvGiMWvp281hb8tDaVK1NVL5tryJ1DEKAKAKAKAKAKAKAKAKAq+kW1Gw8QkVAxLKty2VFzG2ZjwUUOjZqKqz3W7YX5vkhvBbKcOJ8ROZJBuAukSX00S+p4Xb9KEzrRcdynGy82/H4LihzHOdMFYHDTI+RlmCZrXsJexuO/XLUM7tiae/Bq91e3diRNpYRsPLFicRK+IgU9rNYCFjukyKLEcLnVd9DSlNVYSp00oyfqtLv+M61WBFwbg7jUnmtWKTpnrhWT42jT+J1FQzr2L/uT0Tfki8qTkCgOUwOPERxWJKl3ln6uJB3nMYCBR+bOb8BUHo1KTn0dPJKN29L438rC+i2FcYnFzSvmf6tGPuhgpdgB8IDKB5GhG1zi6VOEFZYvwyXjgy32TtPry7Kn1INkkv9pa+Yhbd0G1jfXWpOatR6JJN9bitNPEsaGAUAUAUAUAUB4TbWgI2zsek6dZGSUuQDYgGxtcX3jx40NKlKVOW7LMcxmFWWNonF0cEEeBoVhNwkpRzRyuwdm9Y7wYqVpXwxULGdI8vuSZR3ybbzuI+cHo7RW3IqdFWUs3xvxXI6L+l4uuGHDZpLEkKC2W3xEaLfxqTi6Ce50jVl792p7tnZwxETQklb2IYbwQQQR8qEUKrpTU0S3QEFSAQRYg7jehmnZ3Q3hsOkSLGgCoosANwFCZSlOTlLFhiMOkgCuoYAhgDzU3B9DQmMpQd1gPUKHhoDnOiuw3iAlxFjKMwVRqsYZizWPFmO8+AFQju2vaYze7Ty97ZeCKzY7nGK8SG0LSO88g0zZm7ManxUC54Cw40Oisls7UpdpJKK92/HI7WKMKAqgBQLADQACpPKbbd2NYzFCNc7BiLgdlSx7RA3DzoWhBzdkP0KBQBQBQBQHMbehxGLMmHi+qiTvM6n65t+QbuxzbjeoPQ2eVKhac8W9OC179Cy2DtVZQYinVTRWDw/DytzU8CKk59oouD3r3i8nr+S1oc5UbW2Cs8iS9Y8bBSrdWcpdWscpO8ai9x40OmjtLpxcbJ8ceD1DEYrCYCIAlIk4KO8x8hqx8ahtIvSo7Rtk+qnJ+3wcTtf2nMbrhoQo+OTU+iDd6mqOeh9Bs3/AByKxryvyXz+DlMd0nxkvfxL25Kco/y2qm8z2qX03ZaXZprxx9yqlkZu8xb8RJ/elzsjFR7KsIViNQSDzBI/aglZ4MsMH0hxUXcxMg8CxYfJr1ZNnFV2LZ6nagvK3sdRsn2nTpYTxLKvNew49NQf0qykePtH0GjLGlJxfPFfPud/sHpNhsWPqpO1bVG0cenH0qyZ89tWw1tmfXWGvAssHhEiQRxoEQblAsBUnNOcpy3pO7G9qbQSCMyyGyjgNSxO4AcSTpahNKlKrLdiRNhwTEtiJyQ8lrRA3WJRew8W11NDWvKmrQp5Ljq/jQtqHMFAFAFAFAFAVW2tj9blljfq8QnckAv+Vh7ynlQ6KFfo7xkrxea+65kzZ0kjRqZUCSW7Sg5hfwPKhnUUVJqDujk+mXTlcOTBBZ5tzH3Y/wD2bw4ceVUlKx7f0z6NLaLVKuEeGr+EZXjMW8rmSRy7nexNz/8AB4Vlc+xpUoUoqEFZaDNC4UB4aEMSTUlGxJNWKNiTUlGwSQqQykqw1BBsQfAjdUozlZqzNJ6G+0U3EGMI5LNu9HH/AJVZM+b2/wCkJdeh5fHwaFPgI5HjmYZmjuU17ILW1tuJtx8TUnhRqzhFwXHMfxE6opd2CqBckmwHrQrGLk7JYlB/xIzOJFhYYMXzTMpueRVBqF45jUXOz9JFLdcuvp+deR0MbhgGBBBFwRuINScTTTsxVCAoCjxGIxkLFjGuJhJJ7HYlQX3ZSbSW8wdKHXGNCorX3XzxT+CZs3bMM9xG/bG9G7LjzQ6ihlV2epTxksNeHmWFDE4f2hdLTAPo0DfXMO0w/sweX3j+lUlK2B9B9G+lqu+mqrqrJav49zJwKyPsz2gJmD2eXXrHdYor2ztc3I3hVGrkeFTYwq192W5FOUtF93khXV4Xd10/4upS38PXXt/u1MCu9tGe7Hu3n77thOK2aQpkjdZYxvZL3X8SHVf2qbFY7SnLcmnGWj49zyYxg8BJLcovZHediFRfNjp6b6lIVa8KeEnjpx8h5sFAujYsE/3cLOB+YsoPpepsYdNVeVPzaXpZiJdl3UvDKsyqLsACrqOZjbW3iL1Niv6iz3akd18OKfiisJqTRsSako2aJ7NemRRlwU7fVnSJz7p+E+B4cvWpPC+qbApJ1qefFfc0naGyIpnR5QWCXIQnsXNtSm5iLaX5mh4VOvOnFqOF+PHzIe0dudo4fDIJpve1tHH4u3D8I1NDWns2HSVXux9X3fJN2JgOogjgLZii2JtYHyHAUMa9XpajnbMnUMio6R7SngRXhw5m1ObU9gc8oBLenKh07NRp1ZNTlu6cyBs7GYnErmjxeGUcQkbOw887Cx9Kg2qU6NF2lCXi7eyDFdEBMVbEYmWRl1UqEjt5FRmHzpYQ2/o01Tgl5v3w9Cf0k2uuDwzTHUgZUBPeY6DX9fSjdkV2HZHtddU1lx5IwqeZnZpHOZ2JLE8SawP0SEIwioxVkshFCwqNCxCjexAHqbUIlLdTb4FhtMmXE9SgsA4hiXgAGyD5nU+dWedjloWpUOklm1vPyv6ZIQ4wtyl5QBp1vZYHx6qwOX817UsiL7RbetH/ABx8r6+FhqaOXDSK6vvF0kXVXXdpfeOBU+RqciFOntEHFrvTzT/mTLCdPpoDrIsfVL24jcJGBveNVGoPEDUHmLVJxqX6XqtN3eD4t6SftwK1nwq6ZZpObZkj+SZW/U1OBt++8bxXKzfrdew3jIjh5EeKQm6rJG9rGzbrjgd4I/1qSkJqrBqa5NHm3YlEuZQFWRFkCjcucXIHhe/pUlKEm4WeabXkVxNSaNiGqStzcvZt0kOLw+RzeaGytzYHut62I8xRo+U+o7L0NS8ey/5Y6fCYSOJckaKi3JsosLmoOGc5Td5O7I+0dtQQfazKp+G92P5RrQvS2epU7MbkPA9IxJMkXUSorhijyLkDZLXAU67jfW1DWpsjhBy3k2s0sbX9C7ochWbR2FDMc5UpIN0iHJIPzDf63ob0tpqU1ZO60eKHNlYaaMMs0wlFxkbJle33rGxPiLUIrTpyacI21xuvAzT2p7V6zELhwezCNfxPY/oLfM1lNn13/H9l6Og6rzl7L8nFVQ98KAAxGo3jUeY1oGk8GWW1WMeJE6bmZZ4+XaOe3o1x6Vbjc4qH7lDopZpOL9vVYjuI2dEh+kM18O/aiRTZ5Lk3TmgU6FvlqdJsYx2ipJdFFddYN8Fz53zS8xWz8a07OJrfRgAX4LCNymMcG4Ae9bXmJMq1ONFJ0+3w1lrfl7cCsxMD4dkkSS4PajlXS9t+h3EXsVPPkak2jONaLjJcmn/PJkpcEuKvJGUiZReZToijjIv3eacDu31JzOrKh1Z3kv6XxfJ8+ZExshxEypCptZYolO/KugJ5cWPK55VJaC6Gm3N6t9/8wQ1tvEq8pyG6KAiHmqDKD66n1qSKMXGHWzeL72V5qS7YkmpKNl/0D20cLjY3Jsjnq38mIsfQ2NS0cW3UelotcVijZOmiH6PnDOFR1aQIxUsl7MLjXcb+lZs+f2FrpbWV2na+OPAZ2nsCOODPhIVEqMsiWtmcqb2LH4hcetC9LapSqWrSwd0+XhyJ+3sK7rFJGt5IpEcDcSO6w/hJqTDZ5xi5Rk8Gmvj1GP6bmX7TAzDxQpIP0IP6VBf9NB9movG6PD0twq/aM8P+LG6fqwtUk/oaz7KT7mmXKzKVDg3UjMDwIte/yocu697d4nz3j8WZZZJjvdmb5m/7Vgz9No0lSpxprgkh7D7LkZRJYIh3M7BAfK+rDxAtSxnPaacZbub0WPnoey7JlClwBIo1JjYPYcyBqB42tSwjtVNvdeD54FfeoN2XOFKDDhsQpKhi0Cg2Z798eEV7G/MG2+ro86q5Os1ReNrSemj/AMuWmeRERHxLtI7hEUDM9uzGuoVVUetlG/XxNSWlKOzxUYq7eS4t8W37sc6QErkRBbDatEQbh+BZjxfgR7t7ecmOzNO8pdvjy5LlpqN7AdizREBoCM0oY2VQNM+axyML6Hju1qUV2qySnlLhz5c0R9pY5MvUQ3EANyTo8pHvOBu8F4edSKdOV9+p2vRcl93xLHD7PaKOREIOLZe1H76RkHMF5ueI3geZqTlnWU5Jy7GvBvny01ZzV6k62EaljlUFm5KCT8hrUlJOyuxzFYGWMZpIZEHN0ZR82AqTONSEuy0+5kRqkk+j9h4gYrBRO2oliAb1Wx/nWbPkKqdGs0uDLDA4fq40jzFsihcx3mwtrahnUnvycrWuP0KBQARQFd0glyYWdhwie38JFQ8jq2OO/tEF/cvcw/ZSKqvMyhhGFyqe6zOSFvzAsTbwrHmfoO0OUnGnF23r3eiWfwJSKXEOzk5mABZ2IAA3DU6AcAB6UzJcqWzxUUrLgl/PMTPhpoGV7FDfsSKdLj4XU7/CgjVpV4uOeqf3TLDAyRYhvrIx14BKqtkSc8Fb4G8u9u0qyOKsqlCPUfV48XFarVd+WZCWOTEyPJK+QJbrHIsIxqAoTnoQEHI+NSaSlChBRgr3yWvO/ux842KZRhrCBFJMTE6ZiAD1ttCWA73u+V6k5+jqUpdLfebzXL+3u0495DhnaAvh5oyYye3HexB4Mp1Aa3HcR4ULTiqqVSm8eD+z5ew9tw5ESOL/AJZtQ43zMN5fky37nu343vVjGh1pOU+2uH/lcuT14nuGZcEyvIgkxG/Je3UjmTr9YeAt2bXNybCSk77Qmou0ddfx7kDaGEMeWeOQvGzXSXUOGHas1u7IN/ja4qUXhU3rwkrNZrhblqixwbxYks5hzYoDSMNljmPFrAXzj4Bo1/MUOae/Sst7q68Vy7ufAjQY3GTgrEWSMd4RfUxr+IggfxEmrWsTKFGnjPF88X4fgZkOLww61Zmyk5SyS51vqcrC5GoB0YWNjTMj9qr1XHzVvIZ2hlliGJVAjBskqqLLdgWRwPdDZXBHNfGpQheEtxu/FfdeBsPslmzbOjB913X5MbfoarLM8D6krbQ/A7KqnAFAFAFAVPS1b4PED+7b9qiWR2/Tnbaqb5oxTCi+GmA3q8Tny+sX92FY8D72phXg3xUl44P7HmDmjMTwyMUDOjhwufVA62Zbg27d9NxFEKsZqpGpBXsmrXtnbFPwJGF2jFAGSNWmDiziTsRnyjUk35MTccqsYVaNSs1KbUbZWxfm7eVsSJj8CAgniu0DHLr3o2+ByNL8jxpYtTrve6OeEl6rVfdcCWcU2MRYWe0yXKX0WYmws395YABjv3aVJy7i2aTnFdV5/wBvd/bquGZWYLAtI5TRAurs1wIwNCW4+Ft5OlTY2q1owjfO+SXHuLCTGwz5cOQUVQEhma5ff/aAe6x4DueOtWOTo6lK9TNvFrh4c16jGCxs2BmeN0Oh7cZ01FwGVrHKwubMKkVIU9pgpRfc/s+WqIW08F1eWRX6yF75ZLWJI1KsPdccR60LU6u/eLVpLNfHIn4d/oasJFEkkqgNAxsqrvBe2uc8B7up42qTnn+++q7JcdXy5a6kPaey8kaYmLMcO/dJ0ZCDbK1vHcw0NudWRanWvJwl2l693wO4ray4pVTEuyMndkAzIb7y8Q94/Gup4g0RlGk6Tbpq6fDj4P7MakWOCCZBOkrTZABHchQjZyzEgWOlgN+pqSLynOL3Wkr581YYwxy4SZj/AGrxoniY80jH0BQfnqeIljVjyTfngv5yNd9jq22eDzlk/e38qpPM8P6m71/BHcVU88KAKAKAj7QgzxSR/EjL8wRUM0oz3KkZaNM+fsDi2iYMAL2KsrC6sDoVI4isT9LrU41Y2femuGjQ+4wzahpYfu5RKo8mzKbeY9TU4HPevHBpS533fNWa8jwT4ZNVieY85GCJ/Aly3q3pU4FJRrzzko92L83l5Hn9OTZw1xlAK9Xa0WU71yDSx+fjUlHstPdtxzvxvrcc/ohZvrIGAi3yZzrB+I72XfYjfu31Jk9pdPq1F1uFv6u7R6rgNba2uZrRrfq1tqR25WAsHe29uQ4edSVoUFTvJ5+iWi5ainP0S434ojU/9C/Ac5Dz93xJ0kzv+ox/o/2/HuR8Li0dBh5zZR9nLvMXgfijPLhvFSJwlGXSQ8Vr+fcmq74AOjENiHsMlwyR5TcOeDP8PIEk77VJg7bTZrsrjxfLu11IGEwYCfS8QGMRYhRredxqRm4KOLeg13SXnUe90cM/ZfzJDB21N1pmzDMRlK2HV5fgyHTJ4fz1qbEOjDd3bYet9b6ipGwsuvawzcQB1sXpqGTy7VSV/djh2vR/D9Bv6Lhl1bFFx8McTBj+aSwXz18qkq51HlG3e/gj7Tx/WlbII40GVEBuFG86nvEnUnjUpEQhu8bt5s3j2bYPqtnYcHeylz+clv51nLM+d22e9XkzpqqcoUAUAUAUBhPTTZ3UYyVLWUtnXyfX97j0rGSxP0L6btHT7LCXFKz8CiJodbYkmpKNiSako2WO2CIlGFU93WY/FJy8k3edzVjjo3qPpXx7PJfn2JX0ZsLEZVs0+gYg64YMLrcfG1+9uW1t5qbGDqKvPdfZ/wBvwvXuIscoxIEbsFnUWSQmwkG7I5PHk/oeBEkyTovej2eK05r7ryAJ9E1cXxXuod0H3mHGTkvDeeAqSjl0+C7Gv/ru5c+InY+z1crNiHCozEKGJvM/LNvC5rZn8ee6SK9VxW7TWK9F86IIdpM0zxYnRJLROtrCIoSFKrw6sk6ci3OpsUlTSgnTzWK53z8ylxMLI7RsLMpKkeINjUmykmk1xGSakq2JJqxVj2AwbTSpAnekYKPzG1/Tf6UyM5zUIuT4H1BhoQiLGvdVQo8lFhWB8pJ3d2OUICgCgCgCgOE9quxTJCuKUdqK4bxRv9Dr6mqyR7/0Ha+jqOjLKWXf+TJSaofWNiTUlGydsBQcTCDr2wfPL2h+oFWRy7VK1GVtDzo/Z8TEXsbsW13M1iyg+b5R61JntT3aUt3T0yfkhrZ2JnExKBnmYsHQrmL3PaDJxF9993hUkVY03DrYRWT00syRtrZSqDJEVZBbrEVs5hY+6T7y33N6HWpMaNdvqzz4PK/55C8DiYZyq4nR0HZe9hKANI5G93hZxwuOREmdSM6Sbp5PhpzXwV+2zMZbTIVewCoBZQu4BANCvK171KL0txR6jw1+RzpX9qA32gijEv8AiBbNfxtlv41KKbN2cMru3cN9Jj/WZOdkv59Wl/1vUrIrQ/614+7Ko1JcSTUkGk+xnYGeV8c47MfYj8WPePoNPzeFUm+B5X1KtaKprjmbFWZ4oUAUAUAUAUAmRAwKkXBFiDuINCU2ndGF9NejbYKbKLmF7mNv3UnmP2qjR9v9P25bVSu+0s/nxOdJodrZ7BOyOsi95SGHmDcVKMppSTi8mWGO2b1l5sOpeJtSijM8ROpVlGthwbcRVjlhW3epUdmuPB818Hj4vHSr1V8Q6nQqA+oHBiBdh+K9SV3Nng97qry9NPAcwMP0RhNMwDAECBSGZwd6yWuEQ8b6ngL1JnUn0y3YLDXTu1ZGOCjn7UDCOTjA7W/7ch0YfdaxHjUh1JU8J4rVfdfB7CcfCOqQYpB8KiS2vK27zFSVl0E3vPdfkJgwAw9pcSNRqkF+254FwO4g3m+p3WpmVnVdTq0/F6d2rKfETM7M7G7MSxPMk3NWNEklZDRNSQWPR7YsmMnXDxbzqzWuEUb2P+9aN2VzCtWjShvSPo7ZGzY8NCmHiFkQWHM8yfEnWsW7nzVSo6knKWbJlQUCgCgCgCgCgCgIO2dlR4mJoJVurfMHgQeBFDbZ686E1ODxMN6U9G5cFJkk7SN3JALK3+jeFRY+x2Tbae0xvHB8VoUZNDoZ4rkG4JBG4g2PzFSUeKsx2bHysLNNIw5F2I+RNWMujgsVFeREqSWxLVJUWmKdRlWRwOQYgfIGpM5KLxaGKkhsSTUlSdsPY02LlEECZmO8+6o5seAo3Yxq1Y0470mb90O6LRYCHq07UjWMklrFiP2A4CspSufPbRtEq0rvLgi/qpzhQBQBQBQBQBQBQBQDGNwccqGORA6NvUi4oXhUlTlvRdmZb0m9mMiEyYRs6b+rY9seAY971186H0GzfWIyW7WwevAz3FQPGxjkRkcb1YEEehqT1ozUlvRd0ME1ZENiSakqJJqSrYkmpKMSBchQLkmwA1JJ4AcakqzuejXsxxM9nn/q8W+xF5SPBfd8z8qq5pHnV/qFOGEMX6GwbD2JBhI+qgjCLxO9mPNm3k1m3c8WrVnVlvSZY1BmFAFAFAFAFAFAFAFAFAFAFARNo7MhnXLNEkg+8AbeR4UNKdWdN3g7HG7Z9m+CILIJIz9x9PkwIqbnoUvqdfJ2feZNtrArDIUUkj71r/oBV0e5SqOcbsi4OEO4UkgHlv8A1qROVlc1To97N8G6q8hle4vYuAP8qg1XeZ4tb6hVTsrI7nZOwMNhvsIEQ8wO1/Edaq22edUr1KnadyzqDIKAKAKAKAKAK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647" y="4355921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80952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uccess_or_die.h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6259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nde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SUCCESS_OR_DIE_H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_H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(f...)		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                        	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                       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const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eturn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r = f;		\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						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if (r !=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UCCESS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{							    \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"Error: '%s' [%s: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: 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\n", #f, __FILE__, __LINE__, r);\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exit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EXIT_FAILURE);        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}                          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while (0)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ndif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4987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meout Mechanism</a:t>
            </a:r>
          </a:p>
        </p:txBody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Mechanism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otentially</a:t>
            </a:r>
            <a:r>
              <a:rPr lang="de-DE" sz="2800" dirty="0" smtClean="0"/>
              <a:t> </a:t>
            </a:r>
            <a:r>
              <a:rPr lang="de-DE" sz="2800" dirty="0" err="1" smtClean="0"/>
              <a:t>blocking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s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procedure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guarante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return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Timeout: </a:t>
            </a:r>
            <a:r>
              <a:rPr lang="de-DE" sz="2800" dirty="0" err="1" smtClean="0"/>
              <a:t>gaspi_timeout_t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EST (0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s</a:t>
            </a:r>
            <a:r>
              <a:rPr lang="de-DE" sz="2000" dirty="0" smtClean="0"/>
              <a:t> </a:t>
            </a:r>
            <a:r>
              <a:rPr lang="de-DE" sz="2000" dirty="0" err="1" smtClean="0"/>
              <a:t>local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does</a:t>
            </a:r>
            <a:r>
              <a:rPr lang="de-DE" sz="2000" dirty="0" smtClean="0"/>
              <a:t> not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BLOCK (-1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indefinitely</a:t>
            </a:r>
            <a:r>
              <a:rPr lang="de-DE" sz="2000" dirty="0" smtClean="0"/>
              <a:t> (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Value &gt; 0 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Maximum time in </a:t>
            </a:r>
            <a:r>
              <a:rPr lang="de-DE" sz="2000" dirty="0" err="1" smtClean="0"/>
              <a:t>msec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going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rank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make</a:t>
            </a:r>
            <a:r>
              <a:rPr lang="de-DE" sz="2000" dirty="0" smtClean="0"/>
              <a:t> </a:t>
            </a:r>
            <a:r>
              <a:rPr lang="de-DE" sz="2000" dirty="0" err="1" smtClean="0"/>
              <a:t>progres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!= </a:t>
            </a:r>
            <a:r>
              <a:rPr lang="de-DE" sz="2000" dirty="0" err="1" smtClean="0"/>
              <a:t>hard</a:t>
            </a:r>
            <a:r>
              <a:rPr lang="de-DE" sz="2000" dirty="0" smtClean="0"/>
              <a:t> </a:t>
            </a:r>
            <a:r>
              <a:rPr lang="de-DE" sz="2000" dirty="0" err="1" smtClean="0"/>
              <a:t>executio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endParaRPr lang="de-DE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Process Management</a:t>
            </a:r>
          </a:p>
        </p:txBody>
      </p:sp>
      <p:sp>
        <p:nvSpPr>
          <p:cNvPr id="3584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Initialize / Finalize</a:t>
            </a:r>
          </a:p>
          <a:p>
            <a:pPr lvl="1"/>
            <a:r>
              <a:rPr lang="de-DE" sz="2400" smtClean="0"/>
              <a:t>gaspi_proc_init</a:t>
            </a:r>
          </a:p>
          <a:p>
            <a:pPr lvl="1"/>
            <a:r>
              <a:rPr lang="de-DE" sz="2400" smtClean="0"/>
              <a:t>gaspi_proc_term</a:t>
            </a:r>
          </a:p>
          <a:p>
            <a:r>
              <a:rPr lang="de-DE" sz="2800" smtClean="0"/>
              <a:t>Process identification</a:t>
            </a:r>
          </a:p>
          <a:p>
            <a:pPr lvl="1"/>
            <a:r>
              <a:rPr lang="de-DE" sz="2400" smtClean="0"/>
              <a:t>gaspi_proc_rank</a:t>
            </a:r>
          </a:p>
          <a:p>
            <a:pPr lvl="1"/>
            <a:r>
              <a:rPr lang="de-DE" sz="2400" smtClean="0"/>
              <a:t>gaspi_proc_num</a:t>
            </a:r>
          </a:p>
          <a:p>
            <a:r>
              <a:rPr lang="de-DE" sz="2800" smtClean="0"/>
              <a:t>Process configuration</a:t>
            </a:r>
          </a:p>
          <a:p>
            <a:pPr lvl="1"/>
            <a:r>
              <a:rPr lang="de-DE" sz="2400" smtClean="0"/>
              <a:t>gaspi_config_get</a:t>
            </a:r>
          </a:p>
          <a:p>
            <a:pPr lvl="1"/>
            <a:r>
              <a:rPr lang="de-DE" sz="2400" smtClean="0"/>
              <a:t>gaspi_config_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Initialization</a:t>
            </a:r>
          </a:p>
        </p:txBody>
      </p:sp>
      <p:sp>
        <p:nvSpPr>
          <p:cNvPr id="3686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init</a:t>
            </a:r>
          </a:p>
        </p:txBody>
      </p:sp>
      <p:pic>
        <p:nvPicPr>
          <p:cNvPr id="3686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4238" y="2579688"/>
            <a:ext cx="5330613" cy="4741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6868" name="Rectangle 3"/>
          <p:cNvSpPr>
            <a:spLocks/>
          </p:cNvSpPr>
          <p:nvPr/>
        </p:nvSpPr>
        <p:spPr bwMode="auto">
          <a:xfrm>
            <a:off x="450850" y="31527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ialization of resources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communication infrastructure if request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default group GASPI_GROUP_ALL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ank assignment </a:t>
            </a:r>
          </a:p>
          <a:p>
            <a:pPr marL="1600200" lvl="3" indent="-22860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000">
                <a:solidFill>
                  <a:srgbClr val="3B57A0"/>
                </a:solidFill>
                <a:latin typeface="Calibri" pitchFamily="34" charset="0"/>
              </a:rPr>
              <a:t>position in machinefile </a:t>
            </a:r>
            <a:r>
              <a:rPr lang="de-DE" sz="2000">
                <a:solidFill>
                  <a:srgbClr val="3B57A0"/>
                </a:solidFill>
                <a:latin typeface="Calibri" pitchFamily="34" charset="0"/>
                <a:sym typeface="Wingdings" pitchFamily="2" charset="2"/>
              </a:rPr>
              <a:t> rank ID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default segment cre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Finalization</a:t>
            </a:r>
          </a:p>
        </p:txBody>
      </p:sp>
      <p:sp>
        <p:nvSpPr>
          <p:cNvPr id="3789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term</a:t>
            </a:r>
          </a:p>
        </p:txBody>
      </p:sp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5825" y="2582863"/>
            <a:ext cx="4707467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7892" name="Rectangle 3"/>
          <p:cNvSpPr>
            <a:spLocks/>
          </p:cNvSpPr>
          <p:nvPr/>
        </p:nvSpPr>
        <p:spPr bwMode="auto">
          <a:xfrm>
            <a:off x="458788" y="30892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clea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ai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utstand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inishe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leas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sources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llectiv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per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!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Identification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rank</a:t>
            </a:r>
          </a:p>
        </p:txBody>
      </p:sp>
      <p:pic>
        <p:nvPicPr>
          <p:cNvPr id="38915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9000" y="2538413"/>
            <a:ext cx="4099834" cy="560158"/>
          </a:xfrm>
          <a:prstGeom prst="rect">
            <a:avLst/>
          </a:prstGeom>
          <a:noFill/>
          <a:ln>
            <a:noFill/>
          </a:ln>
        </p:spPr>
      </p:pic>
      <p:sp>
        <p:nvSpPr>
          <p:cNvPr id="38916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proc_num</a:t>
            </a:r>
          </a:p>
        </p:txBody>
      </p:sp>
      <p:pic>
        <p:nvPicPr>
          <p:cNvPr id="38917" name="Picture 7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81063" y="3886200"/>
            <a:ext cx="4490720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tartup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err="1" smtClean="0"/>
              <a:t>gaspi_run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ag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aspi_run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–m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[OPTIONS] &lt;path2bin&gt;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vail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option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b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a different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	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En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NUMA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same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start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n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rom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-d				     Ru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with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db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214156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</a:t>
            </a:r>
            <a:r>
              <a:rPr lang="de-DE" dirty="0" err="1" smtClean="0"/>
              <a:t>world</a:t>
            </a:r>
            <a:r>
              <a:rPr lang="de-DE" dirty="0" smtClean="0"/>
              <a:t>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„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“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output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marL="0" lvl="1" indent="0">
              <a:lnSpc>
                <a:spcPct val="90000"/>
              </a:lnSpc>
              <a:buNone/>
            </a:pPr>
            <a:r>
              <a:rPr lang="en-US" sz="2000" dirty="0">
                <a:latin typeface="Courier New" pitchFamily="49" charset="0"/>
                <a:cs typeface="Courier New" pitchFamily="49" charset="0"/>
              </a:rPr>
              <a:t>	Hello world from rank xxx of </a:t>
            </a:r>
            <a:r>
              <a:rPr lang="en-US" sz="2000" dirty="0" err="1">
                <a:latin typeface="Courier New" pitchFamily="49" charset="0"/>
                <a:cs typeface="Courier New" pitchFamily="49" charset="0"/>
              </a:rPr>
              <a:t>yyy</a:t>
            </a:r>
            <a:endParaRPr lang="en-US" sz="2000" dirty="0">
              <a:latin typeface="Courier New" pitchFamily="49" charset="0"/>
              <a:cs typeface="Courier New" pitchFamily="49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hands_on</a:t>
            </a:r>
            <a:r>
              <a:rPr lang="de-DE" sz="2000" dirty="0" smtClean="0"/>
              <a:t>/</a:t>
            </a:r>
            <a:r>
              <a:rPr lang="de-DE" sz="2000" dirty="0" err="1" smtClean="0"/>
              <a:t>helloworld.c</a:t>
            </a:r>
            <a:r>
              <a:rPr lang="de-DE" sz="2000" dirty="0" smtClean="0"/>
              <a:t> </a:t>
            </a:r>
            <a:r>
              <a:rPr lang="de-DE" sz="2000" dirty="0" err="1" smtClean="0"/>
              <a:t>as</a:t>
            </a:r>
            <a:r>
              <a:rPr lang="de-DE" sz="2000" dirty="0" smtClean="0"/>
              <a:t> </a:t>
            </a:r>
            <a:r>
              <a:rPr lang="de-DE" sz="2000" dirty="0" err="1" smtClean="0"/>
              <a:t>starting</a:t>
            </a:r>
            <a:r>
              <a:rPr lang="de-DE" sz="2000" dirty="0" smtClean="0"/>
              <a:t> </a:t>
            </a:r>
            <a:r>
              <a:rPr lang="de-DE" sz="2000" dirty="0" err="1" smtClean="0"/>
              <a:t>poi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SUCCESS_OR_DIE </a:t>
            </a:r>
            <a:r>
              <a:rPr lang="de-DE" sz="2000" dirty="0" err="1" smtClean="0"/>
              <a:t>macro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check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turn</a:t>
            </a:r>
            <a:r>
              <a:rPr lang="de-DE" sz="2000" dirty="0" smtClean="0"/>
              <a:t> </a:t>
            </a:r>
            <a:r>
              <a:rPr lang="de-DE" sz="2000" dirty="0" err="1" smtClean="0"/>
              <a:t>value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bug</a:t>
            </a:r>
            <a:r>
              <a:rPr lang="de-DE" sz="2000" dirty="0" smtClean="0"/>
              <a:t> </a:t>
            </a:r>
            <a:r>
              <a:rPr lang="de-DE" sz="2000" dirty="0" err="1" smtClean="0"/>
              <a:t>library</a:t>
            </a:r>
            <a:r>
              <a:rPr lang="de-DE" sz="2000" dirty="0" smtClean="0"/>
              <a:t> (libGPI2-dbg.a)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90000"/>
              </a:lnSpc>
            </a:pPr>
            <a:r>
              <a:rPr lang="de-DE" sz="2400" dirty="0" smtClean="0"/>
              <a:t>Execute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plore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veral</a:t>
            </a:r>
            <a:r>
              <a:rPr lang="de-DE" sz="2400" dirty="0" smtClean="0"/>
              <a:t> </a:t>
            </a:r>
            <a:r>
              <a:rPr lang="de-DE" sz="2400" dirty="0" err="1" smtClean="0"/>
              <a:t>option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gaspi_run</a:t>
            </a:r>
            <a:endParaRPr lang="de-DE" sz="2400" dirty="0"/>
          </a:p>
          <a:p>
            <a:pPr marL="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4229555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„hello world“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15925" y="1897063"/>
            <a:ext cx="8270875" cy="42370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“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rank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num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rank) 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num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"Hello world from rank %d of %d\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",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num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Memory Segments</a:t>
            </a:r>
          </a:p>
        </p:txBody>
      </p:sp>
    </p:spTree>
    <p:extLst>
      <p:ext uri="{BB962C8B-B14F-4D97-AF65-F5344CB8AC3E}">
        <p14:creationId xmlns="" xmlns:p14="http://schemas.microsoft.com/office/powerpoint/2010/main" val="1558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u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rodu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ho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doing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did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in </a:t>
            </a: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smtClean="0"/>
              <a:t> GASPI?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interest</a:t>
            </a:r>
            <a:r>
              <a:rPr lang="de-DE" dirty="0" smtClean="0"/>
              <a:t> in / </a:t>
            </a:r>
            <a:r>
              <a:rPr lang="de-DE" dirty="0" err="1" smtClean="0"/>
              <a:t>expect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ASPI?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470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gments</a:t>
            </a:r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1516" y="2015349"/>
            <a:ext cx="6392895" cy="412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65272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s</a:t>
            </a:r>
          </a:p>
        </p:txBody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7005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S</a:t>
            </a:r>
            <a:r>
              <a:rPr lang="de-DE" sz="2800" dirty="0" smtClean="0"/>
              <a:t>oftware </a:t>
            </a:r>
            <a:r>
              <a:rPr lang="de-DE" sz="2800" dirty="0" err="1" smtClean="0"/>
              <a:t>abstrac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hardware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r>
              <a:rPr lang="de-DE" sz="2800" dirty="0" smtClean="0"/>
              <a:t> </a:t>
            </a:r>
            <a:r>
              <a:rPr lang="de-DE" sz="2800" dirty="0" err="1" smtClean="0"/>
              <a:t>hierarch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NUMA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GPU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Xeon Phi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O</a:t>
            </a:r>
            <a:r>
              <a:rPr lang="de-DE" sz="2800" dirty="0" err="1" smtClean="0"/>
              <a:t>ne</a:t>
            </a:r>
            <a:r>
              <a:rPr lang="de-DE" sz="2800" dirty="0" smtClean="0"/>
              <a:t> </a:t>
            </a:r>
            <a:r>
              <a:rPr lang="de-DE" sz="2800" dirty="0" err="1" smtClean="0"/>
              <a:t>parti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PGAS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C</a:t>
            </a:r>
            <a:r>
              <a:rPr lang="de-DE" sz="2800" dirty="0" err="1" smtClean="0"/>
              <a:t>ontiguous</a:t>
            </a:r>
            <a:r>
              <a:rPr lang="de-DE" sz="2800" dirty="0" smtClean="0"/>
              <a:t> </a:t>
            </a:r>
            <a:r>
              <a:rPr lang="de-DE" sz="2800" dirty="0" smtClean="0"/>
              <a:t>block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virtual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pre-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odel</a:t>
            </a:r>
            <a:r>
              <a:rPr lang="de-DE" sz="2400" dirty="0" smtClean="0"/>
              <a:t> </a:t>
            </a:r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anagement</a:t>
            </a:r>
            <a:r>
              <a:rPr lang="de-DE" sz="2400" dirty="0" smtClean="0"/>
              <a:t> </a:t>
            </a:r>
            <a:r>
              <a:rPr lang="de-DE" sz="2400" dirty="0" err="1" smtClean="0"/>
              <a:t>up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L</a:t>
            </a:r>
            <a:r>
              <a:rPr lang="de-DE" sz="2800" dirty="0" err="1" smtClean="0"/>
              <a:t>ocally</a:t>
            </a:r>
            <a:r>
              <a:rPr lang="de-DE" sz="2800" dirty="0" smtClean="0"/>
              <a:t> </a:t>
            </a:r>
            <a:r>
              <a:rPr lang="de-DE" sz="2800" dirty="0" smtClean="0"/>
              <a:t>/ </a:t>
            </a:r>
            <a:r>
              <a:rPr lang="de-DE" sz="2800" dirty="0" err="1" smtClean="0"/>
              <a:t>remote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ordinary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remote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outines</a:t>
            </a:r>
            <a:endParaRPr lang="de-DE" sz="2400" dirty="0" smtClean="0"/>
          </a:p>
        </p:txBody>
      </p:sp>
    </p:spTree>
    <p:extLst>
      <p:ext uri="{BB962C8B-B14F-4D97-AF65-F5344CB8AC3E}">
        <p14:creationId xmlns="" xmlns:p14="http://schemas.microsoft.com/office/powerpoint/2010/main" val="3445076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Segments</a:t>
            </a:r>
          </a:p>
        </p:txBody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ASPI provides only a few relatively large segments</a:t>
            </a:r>
          </a:p>
          <a:p>
            <a:pPr lvl="1"/>
            <a:r>
              <a:rPr lang="de-DE" sz="2400" smtClean="0"/>
              <a:t>segment allocation is expensive</a:t>
            </a:r>
          </a:p>
          <a:p>
            <a:pPr lvl="1"/>
            <a:r>
              <a:rPr lang="de-DE" sz="2400" smtClean="0"/>
              <a:t>the total number of supported segments is limited by hardware constraints</a:t>
            </a:r>
          </a:p>
          <a:p>
            <a:r>
              <a:rPr lang="de-DE" sz="2800" smtClean="0"/>
              <a:t>GASPI segments have an allocation policy</a:t>
            </a:r>
          </a:p>
          <a:p>
            <a:pPr lvl="1"/>
            <a:r>
              <a:rPr lang="de-DE" sz="2400" smtClean="0"/>
              <a:t>GASPI_MEM_UNINITIALIZED</a:t>
            </a:r>
          </a:p>
          <a:p>
            <a:pPr lvl="2"/>
            <a:r>
              <a:rPr lang="de-DE" sz="2000" smtClean="0"/>
              <a:t>memory is not initialized</a:t>
            </a:r>
          </a:p>
          <a:p>
            <a:pPr lvl="1"/>
            <a:r>
              <a:rPr lang="de-DE" sz="2400" smtClean="0"/>
              <a:t>GASPI_MEM_INITIALIZED</a:t>
            </a:r>
          </a:p>
          <a:p>
            <a:pPr lvl="2"/>
            <a:r>
              <a:rPr lang="de-DE" sz="2000" smtClean="0"/>
              <a:t>memory is initialized (zeroed)</a:t>
            </a:r>
          </a:p>
          <a:p>
            <a:endParaRPr lang="de-DE" sz="2800" smtClean="0"/>
          </a:p>
        </p:txBody>
      </p:sp>
    </p:spTree>
    <p:extLst>
      <p:ext uri="{BB962C8B-B14F-4D97-AF65-F5344CB8AC3E}">
        <p14:creationId xmlns="" xmlns:p14="http://schemas.microsoft.com/office/powerpoint/2010/main" val="351301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 Functions</a:t>
            </a:r>
          </a:p>
        </p:txBody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Segment creation</a:t>
            </a:r>
          </a:p>
          <a:p>
            <a:pPr lvl="1"/>
            <a:r>
              <a:rPr lang="de-DE" sz="2400" smtClean="0"/>
              <a:t>gaspi_segment_alloc</a:t>
            </a:r>
          </a:p>
          <a:p>
            <a:pPr lvl="1"/>
            <a:r>
              <a:rPr lang="de-DE" sz="2400" smtClean="0"/>
              <a:t>gaspi_segment_register</a:t>
            </a:r>
          </a:p>
          <a:p>
            <a:pPr lvl="1"/>
            <a:r>
              <a:rPr lang="de-DE" sz="2400" smtClean="0"/>
              <a:t>gaspi_segment_create</a:t>
            </a:r>
          </a:p>
          <a:p>
            <a:r>
              <a:rPr lang="de-DE" sz="2800" smtClean="0"/>
              <a:t>Segment deletion</a:t>
            </a:r>
          </a:p>
          <a:p>
            <a:pPr lvl="1"/>
            <a:r>
              <a:rPr lang="de-DE" sz="2400" smtClean="0"/>
              <a:t>gaspi_segment_delete</a:t>
            </a:r>
          </a:p>
          <a:p>
            <a:r>
              <a:rPr lang="de-DE" sz="2800" smtClean="0"/>
              <a:t>Segment utilities</a:t>
            </a:r>
          </a:p>
          <a:p>
            <a:pPr lvl="1"/>
            <a:r>
              <a:rPr lang="de-DE" sz="2400" smtClean="0"/>
              <a:t>gaspi_segment_num</a:t>
            </a:r>
          </a:p>
          <a:p>
            <a:pPr lvl="1"/>
            <a:r>
              <a:rPr lang="de-DE" sz="2400" smtClean="0"/>
              <a:t>gaspi_segment_ptr</a:t>
            </a:r>
          </a:p>
          <a:p>
            <a:endParaRPr lang="de-DE" sz="2800" smtClean="0"/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0775" y="2784475"/>
            <a:ext cx="3756025" cy="242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8155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alloc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8130" name="Rectangle 3"/>
          <p:cNvSpPr>
            <a:spLocks/>
          </p:cNvSpPr>
          <p:nvPr/>
        </p:nvSpPr>
        <p:spPr bwMode="auto">
          <a:xfrm>
            <a:off x="466725" y="35496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llocate and pin for RDMA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Locally accessible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4813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Allocation </a:t>
            </a:r>
          </a:p>
        </p:txBody>
      </p:sp>
      <p:sp>
        <p:nvSpPr>
          <p:cNvPr id="48132" name="Rectangle 3"/>
          <p:cNvSpPr>
            <a:spLocks/>
          </p:cNvSpPr>
          <p:nvPr/>
        </p:nvSpPr>
        <p:spPr bwMode="auto">
          <a:xfrm>
            <a:off x="458788" y="45339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 register</a:t>
            </a:r>
          </a:p>
        </p:txBody>
      </p:sp>
      <p:pic>
        <p:nvPicPr>
          <p:cNvPr id="4813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486400" cy="11366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4813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168900"/>
            <a:ext cx="5834062" cy="1144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48135" name="Rectangle 3"/>
          <p:cNvSpPr>
            <a:spLocks/>
          </p:cNvSpPr>
          <p:nvPr/>
        </p:nvSpPr>
        <p:spPr bwMode="auto">
          <a:xfrm>
            <a:off x="673100" y="631348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segment accessible by rank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7145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594350" cy="167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Creation</a:t>
            </a:r>
            <a:r>
              <a:rPr lang="de-DE" dirty="0" smtClean="0"/>
              <a:t> </a:t>
            </a:r>
          </a:p>
        </p:txBody>
      </p:sp>
      <p:sp>
        <p:nvSpPr>
          <p:cNvPr id="4915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create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9156" name="Rectangle 3"/>
          <p:cNvSpPr>
            <a:spLocks/>
          </p:cNvSpPr>
          <p:nvPr/>
        </p:nvSpPr>
        <p:spPr bwMode="auto">
          <a:xfrm>
            <a:off x="460375" y="42545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ollective short cut to 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alloc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register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fter successful completion, the segment is locally and remotely accessible by all ranks in the group</a:t>
            </a:r>
          </a:p>
        </p:txBody>
      </p:sp>
    </p:spTree>
    <p:extLst>
      <p:ext uri="{BB962C8B-B14F-4D97-AF65-F5344CB8AC3E}">
        <p14:creationId xmlns="" xmlns:p14="http://schemas.microsoft.com/office/powerpoint/2010/main" val="38298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 bwMode="auto">
          <a:xfrm>
            <a:off x="457200" y="101226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aspi_segment_bind</a:t>
            </a: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sz="2800" dirty="0" smtClean="0"/>
              <a:t>Binds a </a:t>
            </a:r>
            <a:r>
              <a:rPr lang="de-DE" sz="2800" dirty="0" err="1" smtClean="0"/>
              <a:t>buffer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particular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smtClean="0"/>
              <a:t>Same </a:t>
            </a:r>
            <a:r>
              <a:rPr lang="de-DE" sz="2800" dirty="0" err="1" smtClean="0"/>
              <a:t>capabilities</a:t>
            </a:r>
            <a:r>
              <a:rPr lang="de-DE" sz="2800" dirty="0" smtClean="0"/>
              <a:t> </a:t>
            </a:r>
            <a:r>
              <a:rPr lang="de-DE" sz="2800" dirty="0" err="1" smtClean="0"/>
              <a:t>as</a:t>
            </a:r>
            <a:r>
              <a:rPr lang="de-DE" sz="2800" dirty="0" smtClean="0"/>
              <a:t> </a:t>
            </a:r>
            <a:r>
              <a:rPr lang="de-DE" sz="2800" dirty="0" err="1" smtClean="0"/>
              <a:t>allocated</a:t>
            </a:r>
            <a:r>
              <a:rPr lang="de-DE" sz="2800" dirty="0" smtClean="0"/>
              <a:t>/</a:t>
            </a:r>
            <a:r>
              <a:rPr lang="de-DE" sz="2800" dirty="0" err="1" smtClean="0"/>
              <a:t>created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err="1" smtClean="0"/>
              <a:t>Local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r>
              <a:rPr lang="de-DE" sz="2800" dirty="0" smtClean="0"/>
              <a:t> (</a:t>
            </a:r>
            <a:r>
              <a:rPr lang="de-DE" sz="2800" dirty="0" err="1" smtClean="0"/>
              <a:t>requires</a:t>
            </a:r>
            <a:r>
              <a:rPr lang="de-DE" sz="2800" dirty="0" smtClean="0"/>
              <a:t> </a:t>
            </a:r>
            <a:r>
              <a:rPr lang="de-DE" sz="2800" dirty="0" err="1" smtClean="0"/>
              <a:t>gaspi_segment_register</a:t>
            </a:r>
            <a:r>
              <a:rPr lang="de-DE" sz="2800" dirty="0"/>
              <a:t>)</a:t>
            </a:r>
            <a:endParaRPr lang="de-DE" sz="28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339" y="2505644"/>
            <a:ext cx="7438145" cy="16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4224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821243"/>
            <a:ext cx="8229600" cy="4304920"/>
          </a:xfrm>
        </p:spPr>
        <p:txBody>
          <a:bodyPr/>
          <a:lstStyle/>
          <a:p>
            <a:r>
              <a:rPr lang="de-DE" dirty="0" err="1" smtClean="0"/>
              <a:t>gaspi_segment_use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Equivalen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endParaRPr lang="de-DE" dirty="0"/>
          </a:p>
          <a:p>
            <a:endParaRPr lang="de-D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438" y="2552091"/>
            <a:ext cx="6854224" cy="192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779" y="4574913"/>
            <a:ext cx="4867275" cy="2162175"/>
          </a:xfrm>
          <a:prstGeom prst="rect">
            <a:avLst/>
          </a:prstGeom>
          <a:ln w="12700" cap="sq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10016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Deletion</a:t>
            </a:r>
            <a:r>
              <a:rPr lang="de-DE" dirty="0" smtClean="0"/>
              <a:t> </a:t>
            </a:r>
          </a:p>
        </p:txBody>
      </p:sp>
      <p:sp>
        <p:nvSpPr>
          <p:cNvPr id="50178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delete</a:t>
            </a:r>
          </a:p>
        </p:txBody>
      </p:sp>
      <p:pic>
        <p:nvPicPr>
          <p:cNvPr id="501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2578100"/>
            <a:ext cx="5753100" cy="568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0180" name="Rectangle 3"/>
          <p:cNvSpPr>
            <a:spLocks/>
          </p:cNvSpPr>
          <p:nvPr/>
        </p:nvSpPr>
        <p:spPr bwMode="auto">
          <a:xfrm>
            <a:off x="457200" y="32289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F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re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emory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None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2808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num</a:t>
            </a:r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48990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ptr</a:t>
            </a:r>
          </a:p>
        </p:txBody>
      </p:sp>
      <p:pic>
        <p:nvPicPr>
          <p:cNvPr id="5120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219700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534025"/>
            <a:ext cx="5300662" cy="8794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list</a:t>
            </a:r>
          </a:p>
        </p:txBody>
      </p:sp>
      <p:pic>
        <p:nvPicPr>
          <p:cNvPr id="51207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5988" y="3906838"/>
            <a:ext cx="6234112" cy="8001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8429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oals</a:t>
            </a:r>
          </a:p>
        </p:txBody>
      </p:sp>
      <p:sp>
        <p:nvSpPr>
          <p:cNvPr id="14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dirty="0" err="1" smtClean="0"/>
              <a:t>Get</a:t>
            </a:r>
            <a:r>
              <a:rPr lang="de-DE" sz="2800" dirty="0" smtClean="0"/>
              <a:t> an </a:t>
            </a:r>
            <a:r>
              <a:rPr lang="de-DE" sz="2800" dirty="0" err="1" smtClean="0"/>
              <a:t>overview</a:t>
            </a:r>
            <a:r>
              <a:rPr lang="de-DE" sz="2800" dirty="0" smtClean="0"/>
              <a:t> </a:t>
            </a:r>
            <a:r>
              <a:rPr lang="de-DE" sz="2800" dirty="0" err="1" smtClean="0"/>
              <a:t>over</a:t>
            </a:r>
            <a:r>
              <a:rPr lang="de-DE" sz="2800" dirty="0" smtClean="0"/>
              <a:t> GASPI</a:t>
            </a:r>
          </a:p>
          <a:p>
            <a:r>
              <a:rPr lang="de-DE" sz="2800" dirty="0" err="1" smtClean="0"/>
              <a:t>Learn</a:t>
            </a:r>
            <a:r>
              <a:rPr lang="de-DE" sz="2800" dirty="0" smtClean="0"/>
              <a:t> </a:t>
            </a:r>
            <a:r>
              <a:rPr lang="de-DE" sz="2800" dirty="0" err="1" smtClean="0"/>
              <a:t>how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</a:p>
          <a:p>
            <a:pPr lvl="1"/>
            <a:r>
              <a:rPr lang="de-DE" sz="2400" dirty="0" err="1" smtClean="0"/>
              <a:t>Compile</a:t>
            </a:r>
            <a:r>
              <a:rPr lang="de-DE" sz="2400" dirty="0" smtClean="0"/>
              <a:t>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pPr lvl="1"/>
            <a:r>
              <a:rPr lang="de-DE" sz="2400" dirty="0" smtClean="0"/>
              <a:t>Execute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r>
              <a:rPr lang="de-DE" sz="2800" dirty="0" err="1" smtClean="0"/>
              <a:t>Get</a:t>
            </a:r>
            <a:r>
              <a:rPr lang="de-DE" sz="2800" dirty="0" smtClean="0"/>
              <a:t> </a:t>
            </a:r>
            <a:r>
              <a:rPr lang="de-DE" sz="2800" dirty="0" err="1" smtClean="0"/>
              <a:t>us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GASPI </a:t>
            </a:r>
            <a:r>
              <a:rPr lang="de-DE" sz="2800" dirty="0" err="1" smtClean="0"/>
              <a:t>programming</a:t>
            </a:r>
            <a:r>
              <a:rPr lang="de-DE" sz="2800" dirty="0" smtClean="0"/>
              <a:t> model</a:t>
            </a:r>
          </a:p>
          <a:p>
            <a:pPr lvl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</a:p>
          <a:p>
            <a:pPr lvl="1"/>
            <a:r>
              <a:rPr lang="de-DE" sz="2400" dirty="0" err="1" smtClean="0"/>
              <a:t>weak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ation</a:t>
            </a:r>
            <a:endParaRPr lang="de-DE" sz="2400" dirty="0" smtClean="0"/>
          </a:p>
          <a:p>
            <a:pPr lvl="1"/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patterns</a:t>
            </a:r>
            <a:r>
              <a:rPr lang="de-DE" sz="2400" dirty="0" smtClean="0"/>
              <a:t> / </a:t>
            </a:r>
            <a:r>
              <a:rPr lang="de-DE" sz="2400" dirty="0" err="1" smtClean="0"/>
              <a:t>dataflow</a:t>
            </a:r>
            <a:r>
              <a:rPr lang="de-DE" sz="2400" dirty="0" smtClean="0"/>
              <a:t> </a:t>
            </a:r>
            <a:r>
              <a:rPr lang="de-DE" sz="2400" dirty="0" err="1" smtClean="0"/>
              <a:t>implementations</a:t>
            </a:r>
            <a:endParaRPr lang="de-DE" sz="2400" dirty="0" smtClean="0"/>
          </a:p>
          <a:p>
            <a:pPr>
              <a:buFont typeface="Arial" charset="0"/>
              <a:buNone/>
            </a:pPr>
            <a:endParaRPr lang="de-DE" sz="2800" dirty="0" smtClean="0"/>
          </a:p>
          <a:p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max</a:t>
            </a:r>
            <a:endParaRPr lang="de-DE" dirty="0" smtClean="0"/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3164187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Maximum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number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s</a:t>
            </a:r>
            <a:endParaRPr lang="de-DE" sz="32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Defines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range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allowed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IDs </a:t>
            </a: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/>
            </a:r>
            <a:br>
              <a:rPr lang="de-DE" sz="3200" dirty="0">
                <a:solidFill>
                  <a:srgbClr val="3B57A0"/>
                </a:solidFill>
                <a:latin typeface="Calibri" pitchFamily="34" charset="0"/>
              </a:rPr>
            </a:b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[0,segment_max - 1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254" y="2551751"/>
            <a:ext cx="5495925" cy="52387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964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: 1 </a:t>
            </a:r>
            <a:r>
              <a:rPr lang="de-DE" sz="2400" dirty="0" err="1" smtClean="0"/>
              <a:t>row</a:t>
            </a:r>
            <a:r>
              <a:rPr lang="de-DE" sz="2400" dirty="0" smtClean="0"/>
              <a:t> per </a:t>
            </a:r>
            <a:r>
              <a:rPr lang="de-DE" sz="2400" dirty="0" err="1" smtClean="0"/>
              <a:t>proces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outpu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51287385"/>
              </p:ext>
            </p:extLst>
          </p:nvPr>
        </p:nvGraphicFramePr>
        <p:xfrm>
          <a:off x="1524000" y="2841220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700450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hteck 3"/>
          <p:cNvSpPr/>
          <p:nvPr/>
        </p:nvSpPr>
        <p:spPr>
          <a:xfrm>
            <a:off x="817300" y="5501878"/>
            <a:ext cx="219935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0" name="Abgerundetes Rechteck 42"/>
          <p:cNvSpPr/>
          <p:nvPr/>
        </p:nvSpPr>
        <p:spPr>
          <a:xfrm>
            <a:off x="688713" y="5428853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1" name="Group 49"/>
          <p:cNvGrpSpPr>
            <a:grpSpLocks/>
          </p:cNvGrpSpPr>
          <p:nvPr/>
        </p:nvGrpSpPr>
        <p:grpSpPr bwMode="auto">
          <a:xfrm>
            <a:off x="3208075" y="5428853"/>
            <a:ext cx="2447925" cy="360362"/>
            <a:chOff x="839" y="3475"/>
            <a:chExt cx="1542" cy="227"/>
          </a:xfrm>
        </p:grpSpPr>
        <p:sp>
          <p:nvSpPr>
            <p:cNvPr id="12" name="Rechteck 3"/>
            <p:cNvSpPr/>
            <p:nvPr/>
          </p:nvSpPr>
          <p:spPr>
            <a:xfrm>
              <a:off x="920" y="3521"/>
              <a:ext cx="1397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4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50"/>
          <p:cNvGrpSpPr>
            <a:grpSpLocks/>
          </p:cNvGrpSpPr>
          <p:nvPr/>
        </p:nvGrpSpPr>
        <p:grpSpPr bwMode="auto">
          <a:xfrm>
            <a:off x="6460198" y="5430440"/>
            <a:ext cx="2447925" cy="360363"/>
            <a:chOff x="839" y="3475"/>
            <a:chExt cx="1542" cy="227"/>
          </a:xfrm>
        </p:grpSpPr>
        <p:sp>
          <p:nvSpPr>
            <p:cNvPr id="16" name="Rechteck 3"/>
            <p:cNvSpPr/>
            <p:nvPr/>
          </p:nvSpPr>
          <p:spPr>
            <a:xfrm>
              <a:off x="920" y="3521"/>
              <a:ext cx="1373" cy="8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8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957037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80425" cy="40544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// includes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tatic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									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) );   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</a:p>
        </p:txBody>
      </p:sp>
    </p:spTree>
    <p:extLst>
      <p:ext uri="{BB962C8B-B14F-4D97-AF65-F5344CB8AC3E}">
        <p14:creationId xmlns="" xmlns:p14="http://schemas.microsoft.com/office/powerpoint/2010/main" val="27312433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I)</a:t>
            </a:r>
          </a:p>
        </p:txBody>
      </p:sp>
      <p:sp>
        <p:nvSpPr>
          <p:cNvPr id="5325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endParaRPr lang="de-DE" sz="1400" smtClean="0">
              <a:latin typeface="Courier New" pitchFamily="49" charset="0"/>
            </a:endParaRP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de-DE" sz="1400" smtClean="0">
                <a:latin typeface="Courier New" pitchFamily="49" charset="0"/>
              </a:rPr>
              <a:t>	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44713"/>
            <a:ext cx="8229600" cy="367188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array;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&amp;array) ); 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{  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(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uble *)array )[j]= (double)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		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„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( (double *)array )[j] );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}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GASPI_BLOCK) );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return EXIT_SUCCESS;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1773448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ne-sided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Picture 9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43000" y="2658333"/>
            <a:ext cx="5760720" cy="23141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022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Post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pu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ransfer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rom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remote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read</a:t>
            </a:r>
          </a:p>
        </p:txBody>
      </p:sp>
      <p:pic>
        <p:nvPicPr>
          <p:cNvPr id="5734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499" y="2513859"/>
            <a:ext cx="4619625" cy="228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7348" name="Rectangle 3"/>
          <p:cNvSpPr>
            <a:spLocks/>
          </p:cNvSpPr>
          <p:nvPr/>
        </p:nvSpPr>
        <p:spPr bwMode="auto">
          <a:xfrm>
            <a:off x="457200" y="53133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get request into a given queue for transfering data from a remote segment into a local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ait</a:t>
            </a:r>
            <a:endParaRPr lang="de-DE" dirty="0" smtClean="0"/>
          </a:p>
        </p:txBody>
      </p:sp>
      <p:sp>
        <p:nvSpPr>
          <p:cNvPr id="5837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pic>
        <p:nvPicPr>
          <p:cNvPr id="5837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8372" name="Rectangle 3"/>
          <p:cNvSpPr>
            <a:spLocks/>
          </p:cNvSpPr>
          <p:nvPr/>
        </p:nvSpPr>
        <p:spPr bwMode="auto">
          <a:xfrm>
            <a:off x="457200" y="36830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it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on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in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After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,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volved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uffer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ar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val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)</a:t>
            </a:r>
          </a:p>
        </p:txBody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availabl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handle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communication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Reque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</a:t>
            </a:r>
            <a:r>
              <a:rPr lang="de-DE" sz="2800" dirty="0" err="1" smtClean="0"/>
              <a:t>submit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supported</a:t>
            </a:r>
            <a:r>
              <a:rPr lang="de-DE" sz="2800" dirty="0" smtClean="0"/>
              <a:t> </a:t>
            </a:r>
            <a:r>
              <a:rPr lang="de-DE" sz="2800" dirty="0" err="1" smtClean="0"/>
              <a:t>queue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Advantages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M</a:t>
            </a:r>
            <a:r>
              <a:rPr lang="de-DE" sz="2400" dirty="0" smtClean="0"/>
              <a:t>ore </a:t>
            </a:r>
            <a:r>
              <a:rPr lang="de-DE" sz="2400" dirty="0" err="1" smtClean="0"/>
              <a:t>scalabilit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C</a:t>
            </a:r>
            <a:r>
              <a:rPr lang="de-DE" sz="2400" dirty="0" smtClean="0"/>
              <a:t>hannels </a:t>
            </a:r>
            <a:r>
              <a:rPr lang="de-DE" sz="2400" dirty="0" err="1" smtClean="0"/>
              <a:t>for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Si</a:t>
            </a:r>
            <a:r>
              <a:rPr lang="de-DE" sz="2400" dirty="0" err="1" smtClean="0"/>
              <a:t>milar</a:t>
            </a:r>
            <a:r>
              <a:rPr lang="de-DE" sz="2400" dirty="0" smtClean="0"/>
              <a:t>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queued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ed</a:t>
            </a:r>
            <a:r>
              <a:rPr lang="de-DE" sz="2400" dirty="0" smtClean="0"/>
              <a:t> </a:t>
            </a:r>
            <a:r>
              <a:rPr lang="de-DE" sz="2400" dirty="0" err="1" smtClean="0"/>
              <a:t>together</a:t>
            </a:r>
            <a:r>
              <a:rPr lang="de-DE" sz="2400" dirty="0" smtClean="0"/>
              <a:t> but </a:t>
            </a:r>
            <a:r>
              <a:rPr lang="de-DE" sz="2400" dirty="0" err="1" smtClean="0"/>
              <a:t>independently</a:t>
            </a:r>
            <a:r>
              <a:rPr lang="de-DE" sz="2400" dirty="0" smtClean="0"/>
              <a:t> </a:t>
            </a:r>
            <a:r>
              <a:rPr lang="de-DE" sz="2400" dirty="0" err="1" smtClean="0"/>
              <a:t>from</a:t>
            </a:r>
            <a:r>
              <a:rPr lang="de-DE" sz="2400" dirty="0" smtClean="0"/>
              <a:t> </a:t>
            </a:r>
            <a:r>
              <a:rPr lang="de-DE" sz="2400" dirty="0" err="1" smtClean="0"/>
              <a:t>other</a:t>
            </a:r>
            <a:r>
              <a:rPr lang="de-DE" sz="2400" dirty="0" smtClean="0"/>
              <a:t> </a:t>
            </a:r>
            <a:r>
              <a:rPr lang="de-DE" sz="2400" dirty="0" err="1" smtClean="0"/>
              <a:t>one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S</a:t>
            </a:r>
            <a:r>
              <a:rPr lang="de-DE" sz="2400" dirty="0" smtClean="0"/>
              <a:t>epar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concer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execution</a:t>
            </a:r>
            <a:r>
              <a:rPr lang="de-DE" sz="2400" dirty="0" smtClean="0"/>
              <a:t>, </a:t>
            </a:r>
            <a:r>
              <a:rPr lang="de-DE" sz="2400" dirty="0" err="1" smtClean="0"/>
              <a:t>thin</a:t>
            </a:r>
            <a:r>
              <a:rPr lang="de-DE" sz="2400" dirty="0" smtClean="0"/>
              <a:t> </a:t>
            </a:r>
            <a:r>
              <a:rPr lang="de-DE" sz="2400" dirty="0" err="1" smtClean="0"/>
              <a:t>abstrac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HW </a:t>
            </a:r>
            <a:r>
              <a:rPr lang="de-DE" sz="2400" dirty="0" err="1" smtClean="0"/>
              <a:t>queues</a:t>
            </a:r>
            <a:r>
              <a:rPr lang="de-DE" sz="2400" dirty="0" smtClean="0"/>
              <a:t>.</a:t>
            </a:r>
            <a:endParaRPr lang="de-DE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Fairness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ransfers</a:t>
            </a:r>
            <a:r>
              <a:rPr lang="de-DE" sz="2800" dirty="0" smtClean="0"/>
              <a:t> </a:t>
            </a:r>
            <a:r>
              <a:rPr lang="de-DE" sz="2800" dirty="0" err="1" smtClean="0"/>
              <a:t>pos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</a:t>
            </a:r>
            <a:r>
              <a:rPr lang="de-DE" sz="2400" dirty="0" err="1" smtClean="0"/>
              <a:t>see</a:t>
            </a:r>
            <a:r>
              <a:rPr lang="de-DE" sz="2400" dirty="0" smtClean="0"/>
              <a:t> ist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delayed</a:t>
            </a:r>
            <a:r>
              <a:rPr lang="de-DE" sz="2400" dirty="0" smtClean="0"/>
              <a:t> </a:t>
            </a:r>
            <a:r>
              <a:rPr lang="de-DE" sz="2400" dirty="0" err="1" smtClean="0"/>
              <a:t>indefinitely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dentifi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its</a:t>
            </a:r>
            <a:r>
              <a:rPr lang="de-DE" sz="2800" dirty="0" smtClean="0"/>
              <a:t> ID</a:t>
            </a:r>
          </a:p>
          <a:p>
            <a:pPr>
              <a:lnSpc>
                <a:spcPct val="80000"/>
              </a:lnSpc>
            </a:pPr>
            <a:r>
              <a:rPr lang="de-DE" sz="2800" dirty="0" err="1" smtClean="0"/>
              <a:t>Synchroniz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 order </a:t>
            </a:r>
            <a:r>
              <a:rPr lang="de-DE" sz="2800" dirty="0" err="1" smtClean="0"/>
              <a:t>does</a:t>
            </a:r>
            <a:r>
              <a:rPr lang="de-DE" sz="2800" dirty="0" smtClean="0"/>
              <a:t> not </a:t>
            </a:r>
            <a:r>
              <a:rPr lang="de-DE" sz="2800" dirty="0" err="1" smtClean="0"/>
              <a:t>imply</a:t>
            </a:r>
            <a:r>
              <a:rPr lang="de-DE" sz="2800" dirty="0" smtClean="0"/>
              <a:t> </a:t>
            </a:r>
            <a:r>
              <a:rPr lang="de-DE" sz="2800" dirty="0" err="1" smtClean="0"/>
              <a:t>message</a:t>
            </a:r>
            <a:r>
              <a:rPr lang="de-DE" sz="2800" dirty="0" smtClean="0"/>
              <a:t> order o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twork</a:t>
            </a:r>
            <a:r>
              <a:rPr lang="de-DE" sz="2800" dirty="0" smtClean="0"/>
              <a:t> / remote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subsequent </a:t>
            </a:r>
            <a:r>
              <a:rPr lang="de-DE" sz="2800" dirty="0" err="1" smtClean="0"/>
              <a:t>notify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non-</a:t>
            </a:r>
            <a:r>
              <a:rPr lang="de-DE" sz="2800" dirty="0" err="1" smtClean="0"/>
              <a:t>overta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all </a:t>
            </a:r>
            <a:r>
              <a:rPr lang="de-DE" sz="2800" dirty="0" err="1" smtClean="0"/>
              <a:t>previous</a:t>
            </a:r>
            <a:r>
              <a:rPr lang="de-DE" sz="2800" dirty="0" smtClean="0"/>
              <a:t> </a:t>
            </a:r>
            <a:r>
              <a:rPr lang="de-DE" sz="2800" dirty="0" err="1" smtClean="0"/>
              <a:t>po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same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rank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5362" name="Inhaltsplatzhalter 2"/>
          <p:cNvSpPr>
            <a:spLocks noGrp="1"/>
          </p:cNvSpPr>
          <p:nvPr>
            <p:ph idx="1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  <a:p>
            <a:pPr eaLnBrk="1" hangingPunct="1"/>
            <a:r>
              <a:rPr lang="de-DE" smtClean="0"/>
              <a:t>GASPI API</a:t>
            </a:r>
          </a:p>
          <a:p>
            <a:pPr lvl="1" eaLnBrk="1" hangingPunct="1"/>
            <a:r>
              <a:rPr lang="de-DE" smtClean="0"/>
              <a:t>Execution model</a:t>
            </a:r>
          </a:p>
          <a:p>
            <a:pPr lvl="1" eaLnBrk="1" hangingPunct="1"/>
            <a:r>
              <a:rPr lang="de-DE" smtClean="0"/>
              <a:t>Memory segments</a:t>
            </a:r>
          </a:p>
          <a:p>
            <a:pPr lvl="1" eaLnBrk="1" hangingPunct="1"/>
            <a:r>
              <a:rPr lang="de-DE" smtClean="0"/>
              <a:t>One-sided communication</a:t>
            </a:r>
          </a:p>
          <a:p>
            <a:pPr lvl="1" eaLnBrk="1" hangingPunct="1"/>
            <a:r>
              <a:rPr lang="de-DE" smtClean="0"/>
              <a:t>Collectives</a:t>
            </a:r>
          </a:p>
          <a:p>
            <a:pPr lvl="1" eaLnBrk="1" hangingPunct="1"/>
            <a:r>
              <a:rPr lang="de-DE" smtClean="0"/>
              <a:t>Passive communication</a:t>
            </a:r>
          </a:p>
          <a:p>
            <a:pPr eaLnBrk="1" hangingPunct="1"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ues (I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have</a:t>
            </a:r>
            <a:r>
              <a:rPr lang="de-DE" sz="2800" dirty="0" smtClean="0"/>
              <a:t> a finite </a:t>
            </a:r>
            <a:r>
              <a:rPr lang="de-DE" sz="2800" dirty="0" err="1" smtClean="0"/>
              <a:t>capacit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are</a:t>
            </a:r>
            <a:r>
              <a:rPr lang="de-DE" sz="2800" dirty="0" smtClean="0"/>
              <a:t> not </a:t>
            </a:r>
            <a:r>
              <a:rPr lang="de-DE" sz="2800" dirty="0" err="1" smtClean="0"/>
              <a:t>automatically</a:t>
            </a:r>
            <a:r>
              <a:rPr lang="de-DE" sz="2800" dirty="0" smtClean="0"/>
              <a:t> </a:t>
            </a:r>
            <a:r>
              <a:rPr lang="de-DE" sz="2800" dirty="0" err="1" smtClean="0"/>
              <a:t>flush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Maximize</a:t>
            </a:r>
            <a:r>
              <a:rPr lang="de-DE" sz="2400" dirty="0" smtClean="0"/>
              <a:t> time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</a:t>
            </a:r>
            <a:r>
              <a:rPr lang="de-DE" sz="2400" dirty="0" err="1" smtClean="0"/>
              <a:t>post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last </a:t>
            </a:r>
            <a:r>
              <a:rPr lang="de-DE" sz="2400" dirty="0" err="1" smtClean="0"/>
              <a:t>request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flush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(</a:t>
            </a:r>
            <a:r>
              <a:rPr lang="de-DE" sz="2400" dirty="0" err="1" smtClean="0"/>
              <a:t>qwait</a:t>
            </a:r>
            <a:r>
              <a:rPr lang="de-DE" sz="2400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de-DE" sz="2800" dirty="0" smtClean="0"/>
              <a:t>Return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QUEUE_FULL </a:t>
            </a:r>
            <a:r>
              <a:rPr lang="de-DE" sz="2800" dirty="0" err="1" smtClean="0"/>
              <a:t>indicates</a:t>
            </a:r>
            <a:r>
              <a:rPr lang="de-DE" sz="2800" dirty="0" smtClean="0"/>
              <a:t> </a:t>
            </a:r>
            <a:r>
              <a:rPr lang="de-DE" sz="2800" dirty="0" err="1" smtClean="0"/>
              <a:t>full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r>
              <a:rPr lang="de-DE" sz="2800" dirty="0" smtClean="0"/>
              <a:t>.</a:t>
            </a:r>
            <a:endParaRPr lang="de-DE" sz="2800" dirty="0" smtClean="0"/>
          </a:p>
        </p:txBody>
      </p:sp>
    </p:spTree>
    <p:extLst>
      <p:ext uri="{BB962C8B-B14F-4D97-AF65-F5344CB8AC3E}">
        <p14:creationId xmlns="" xmlns:p14="http://schemas.microsoft.com/office/powerpoint/2010/main" val="101399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siz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3741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siz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082" y="4070134"/>
            <a:ext cx="62865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89" y="2546591"/>
            <a:ext cx="60864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7667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num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31" y="2591676"/>
            <a:ext cx="49339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31" y="3856663"/>
            <a:ext cx="50387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1220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38" y="2681288"/>
            <a:ext cx="509587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creat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664689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delete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38" y="4378256"/>
            <a:ext cx="521017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44427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0427" y="1758017"/>
            <a:ext cx="3008313" cy="408240"/>
          </a:xfrm>
        </p:spPr>
        <p:txBody>
          <a:bodyPr/>
          <a:lstStyle/>
          <a:p>
            <a:r>
              <a:rPr lang="de-DE" dirty="0" err="1" smtClean="0"/>
              <a:t>write_and_wai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350427" y="2166257"/>
            <a:ext cx="2667886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erial</a:t>
            </a:r>
            <a:r>
              <a:rPr lang="de-DE" sz="1800" dirty="0" smtClean="0"/>
              <a:t> </a:t>
            </a:r>
            <a:r>
              <a:rPr lang="de-DE" sz="1800" dirty="0" err="1" smtClean="0"/>
              <a:t>wait</a:t>
            </a:r>
            <a:r>
              <a:rPr lang="de-DE" sz="1800" dirty="0" smtClean="0"/>
              <a:t> on </a:t>
            </a:r>
            <a:r>
              <a:rPr lang="de-DE" sz="1800" dirty="0" err="1" smtClean="0"/>
              <a:t>queue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/>
          <a:srcRect l="11508" t="21975" r="69127" b="37901"/>
          <a:stretch>
            <a:fillRect/>
          </a:stretch>
        </p:blipFill>
        <p:spPr bwMode="auto">
          <a:xfrm>
            <a:off x="2810151" y="1115759"/>
            <a:ext cx="6333849" cy="4218240"/>
          </a:xfrm>
          <a:prstGeom prst="rect">
            <a:avLst/>
          </a:prstGeom>
          <a:ln w="12700" cap="sq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7" name="Gerade Verbindung 6"/>
          <p:cNvCxnSpPr/>
          <p:nvPr/>
        </p:nvCxnSpPr>
        <p:spPr>
          <a:xfrm>
            <a:off x="2810151" y="1115759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11349" t="14815" r="68611" b="36728"/>
          <a:stretch>
            <a:fillRect/>
          </a:stretch>
        </p:blipFill>
        <p:spPr bwMode="auto">
          <a:xfrm>
            <a:off x="3004457" y="1202846"/>
            <a:ext cx="6139543" cy="477182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half" idx="2"/>
          </p:nvPr>
        </p:nvSpPr>
        <p:spPr>
          <a:xfrm>
            <a:off x="228600" y="2173809"/>
            <a:ext cx="3008313" cy="359520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cycle</a:t>
            </a:r>
            <a:r>
              <a:rPr lang="de-DE" sz="1800" dirty="0" smtClean="0"/>
              <a:t> </a:t>
            </a:r>
            <a:r>
              <a:rPr lang="de-DE" sz="1800" dirty="0" err="1" smtClean="0"/>
              <a:t>through</a:t>
            </a:r>
            <a:r>
              <a:rPr lang="de-DE" sz="1800" dirty="0" smtClean="0"/>
              <a:t> </a:t>
            </a:r>
            <a:r>
              <a:rPr lang="de-DE" sz="1800" dirty="0" err="1" smtClean="0"/>
              <a:t>queues</a:t>
            </a:r>
            <a:endParaRPr lang="de-DE" sz="1800" dirty="0" smtClean="0"/>
          </a:p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  <a:p>
            <a:endParaRPr lang="de-DE" sz="1800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28600" y="1734114"/>
            <a:ext cx="3008313" cy="439695"/>
          </a:xfrm>
        </p:spPr>
        <p:txBody>
          <a:bodyPr/>
          <a:lstStyle/>
          <a:p>
            <a:r>
              <a:rPr lang="de-DE" dirty="0" err="1" smtClean="0"/>
              <a:t>write_notify_and_cycle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3004457" y="1202846"/>
            <a:ext cx="0" cy="494758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5058" y="1866874"/>
            <a:ext cx="3008313" cy="332040"/>
          </a:xfrm>
        </p:spPr>
        <p:txBody>
          <a:bodyPr/>
          <a:lstStyle/>
          <a:p>
            <a:r>
              <a:rPr lang="de-DE" dirty="0" err="1" smtClean="0"/>
              <a:t>wait_for_flush_queu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2198914"/>
            <a:ext cx="2329543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flush</a:t>
            </a:r>
            <a:r>
              <a:rPr lang="de-DE" sz="1800" dirty="0" smtClean="0"/>
              <a:t> all </a:t>
            </a:r>
            <a:r>
              <a:rPr lang="de-DE" sz="1800" dirty="0" err="1" smtClean="0"/>
              <a:t>queues</a:t>
            </a:r>
            <a:r>
              <a:rPr lang="de-DE" sz="1800" dirty="0" smtClean="0"/>
              <a:t> 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 l="11349" t="17560" r="72778" b="53335"/>
          <a:stretch>
            <a:fillRect/>
          </a:stretch>
        </p:blipFill>
        <p:spPr bwMode="auto">
          <a:xfrm>
            <a:off x="2986540" y="1104874"/>
            <a:ext cx="5275717" cy="31094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cxnSp>
        <p:nvCxnSpPr>
          <p:cNvPr id="6" name="Gerade Verbindung 5"/>
          <p:cNvCxnSpPr/>
          <p:nvPr/>
        </p:nvCxnSpPr>
        <p:spPr>
          <a:xfrm>
            <a:off x="2986540" y="1115759"/>
            <a:ext cx="0" cy="309853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/>
          </p:cNvSpPr>
          <p:nvPr>
            <p:ph type="title"/>
          </p:nvPr>
        </p:nvSpPr>
        <p:spPr>
          <a:xfrm>
            <a:off x="102550" y="906463"/>
            <a:ext cx="8973084" cy="990600"/>
          </a:xfrm>
        </p:spPr>
        <p:txBody>
          <a:bodyPr/>
          <a:lstStyle/>
          <a:p>
            <a:r>
              <a:rPr lang="de-DE" dirty="0" smtClean="0"/>
              <a:t>Data </a:t>
            </a:r>
            <a:r>
              <a:rPr lang="de-DE" dirty="0" err="1"/>
              <a:t>S</a:t>
            </a:r>
            <a:r>
              <a:rPr lang="de-DE" dirty="0" err="1" smtClean="0"/>
              <a:t>ynchroniz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endParaRPr lang="de-DE" dirty="0" smtClean="0"/>
          </a:p>
        </p:txBody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6148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sided-communication</a:t>
            </a:r>
            <a:r>
              <a:rPr lang="de-DE" dirty="0" smtClean="0"/>
              <a:t>: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Entir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involved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Advantage: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inherent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i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request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smtClean="0"/>
              <a:t>Still: At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vailabilit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/>
          </p:cNvSpPr>
          <p:nvPr>
            <p:ph type="title"/>
          </p:nvPr>
        </p:nvSpPr>
        <p:spPr>
          <a:xfrm>
            <a:off x="85458" y="906463"/>
            <a:ext cx="8990175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everal notifications for a given segment</a:t>
            </a:r>
          </a:p>
          <a:p>
            <a:pPr lvl="1"/>
            <a:r>
              <a:rPr lang="de-DE" smtClean="0"/>
              <a:t>Identified by notification ID</a:t>
            </a:r>
          </a:p>
          <a:p>
            <a:pPr lvl="1"/>
            <a:r>
              <a:rPr lang="de-DE" smtClean="0"/>
              <a:t>Logical association of memory location and notification</a:t>
            </a:r>
          </a:p>
          <a:p>
            <a:pPr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</a:t>
            </a:r>
          </a:p>
        </p:txBody>
      </p:sp>
      <p:sp>
        <p:nvSpPr>
          <p:cNvPr id="6553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P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st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uarante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evious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os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rit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i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,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oces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ank</a:t>
            </a:r>
          </a:p>
        </p:txBody>
      </p:sp>
      <p:pic>
        <p:nvPicPr>
          <p:cNvPr id="65541" name="Picture 6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11225" y="2479675"/>
            <a:ext cx="6219316" cy="17380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02403" name="Inhaltsplatzhalter 2"/>
          <p:cNvSpPr>
            <a:spLocks noGrp="1"/>
          </p:cNvSpPr>
          <p:nvPr>
            <p:ph idx="4294967295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programming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Fault </a:t>
            </a:r>
            <a:r>
              <a:rPr lang="de-DE" dirty="0" err="1" smtClean="0"/>
              <a:t>tolerance</a:t>
            </a:r>
            <a:endParaRPr lang="de-DE" dirty="0" smtClean="0"/>
          </a:p>
          <a:p>
            <a:pPr eaLnBrk="1" hangingPunct="1"/>
            <a:endParaRPr lang="de-DE" dirty="0" smtClean="0"/>
          </a:p>
        </p:txBody>
      </p:sp>
      <p:sp>
        <p:nvSpPr>
          <p:cNvPr id="102405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2406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1" name="Picture 7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27100" y="2503488"/>
            <a:ext cx="6864927" cy="14824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6656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notify_waitsome</a:t>
            </a:r>
            <a:endParaRPr lang="de-DE" dirty="0" smtClean="0"/>
          </a:p>
        </p:txBody>
      </p:sp>
      <p:sp>
        <p:nvSpPr>
          <p:cNvPr id="6656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6564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M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nitor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ntiguou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bse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turns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least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n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onitor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remote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da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nequa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zero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reset</a:t>
            </a:r>
          </a:p>
        </p:txBody>
      </p:sp>
      <p:sp>
        <p:nvSpPr>
          <p:cNvPr id="67586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7587" name="Rectangle 3"/>
          <p:cNvSpPr>
            <a:spLocks/>
          </p:cNvSpPr>
          <p:nvPr/>
        </p:nvSpPr>
        <p:spPr bwMode="auto">
          <a:xfrm>
            <a:off x="457200" y="3778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tomically resets a given notification id and yields the old value</a:t>
            </a:r>
          </a:p>
        </p:txBody>
      </p:sp>
      <p:pic>
        <p:nvPicPr>
          <p:cNvPr id="6758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41388" y="2527300"/>
            <a:ext cx="6846887" cy="1097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</a:t>
            </a:r>
            <a:r>
              <a:rPr lang="de-DE" dirty="0" err="1" smtClean="0"/>
              <a:t>ait_or_di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3" y="1043940"/>
            <a:ext cx="5111750" cy="4311333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Wait</a:t>
            </a:r>
            <a:r>
              <a:rPr lang="de-DE" sz="1800" dirty="0" smtClean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smtClean="0"/>
              <a:t>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/>
              <a:t>and</a:t>
            </a:r>
            <a:r>
              <a:rPr lang="de-DE" sz="1800" dirty="0"/>
              <a:t> </a:t>
            </a:r>
            <a:r>
              <a:rPr lang="de-DE" sz="1800" dirty="0" err="1"/>
              <a:t>reset</a:t>
            </a:r>
            <a:r>
              <a:rPr lang="de-DE" sz="1800" dirty="0"/>
              <a:t> 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2993571" y="1043940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st_or_d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Test </a:t>
            </a:r>
            <a:r>
              <a:rPr lang="de-DE" sz="1800" dirty="0" err="1" smtClean="0"/>
              <a:t>for</a:t>
            </a:r>
            <a:r>
              <a:rPr lang="de-DE" sz="1800" dirty="0" smtClean="0"/>
              <a:t> 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reset</a:t>
            </a:r>
            <a:r>
              <a:rPr lang="de-DE" sz="18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479" y="572382"/>
            <a:ext cx="4980435" cy="5853113"/>
          </a:xfrm>
          <a:ln>
            <a:solidFill>
              <a:schemeClr val="bg1"/>
            </a:solidFill>
          </a:ln>
        </p:spPr>
      </p:pic>
      <p:cxnSp>
        <p:nvCxnSpPr>
          <p:cNvPr id="6" name="Gerade Verbindung 5"/>
          <p:cNvCxnSpPr/>
          <p:nvPr/>
        </p:nvCxnSpPr>
        <p:spPr>
          <a:xfrm>
            <a:off x="3640707" y="550610"/>
            <a:ext cx="0" cy="585311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7513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smtClean="0"/>
              <a:t>Extended One-sided Calls</a:t>
            </a:r>
          </a:p>
        </p:txBody>
      </p:sp>
      <p:sp>
        <p:nvSpPr>
          <p:cNvPr id="71682" name="Rectangle 3"/>
          <p:cNvSpPr>
            <a:spLocks noGrp="1"/>
          </p:cNvSpPr>
          <p:nvPr>
            <p:ph type="body" idx="1"/>
          </p:nvPr>
        </p:nvSpPr>
        <p:spPr>
          <a:xfrm>
            <a:off x="457200" y="1897062"/>
            <a:ext cx="8545286" cy="46561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 err="1" smtClean="0"/>
              <a:t>gaspi_write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write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gaspi_writ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gaspi_write_list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non-</a:t>
            </a:r>
            <a:r>
              <a:rPr lang="de-DE" sz="2000" dirty="0" err="1" smtClean="0"/>
              <a:t>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read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</a:t>
            </a:r>
            <a:r>
              <a:rPr lang="de-DE" sz="2000" dirty="0" smtClean="0"/>
              <a:t>.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read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5519058" y="383243"/>
            <a:ext cx="3298372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Hardware </a:t>
            </a:r>
            <a:r>
              <a:rPr lang="de-DE" sz="2800" dirty="0" err="1" smtClean="0">
                <a:solidFill>
                  <a:schemeClr val="bg1"/>
                </a:solidFill>
              </a:rPr>
              <a:t>O</a:t>
            </a:r>
            <a:r>
              <a:rPr lang="de-DE" sz="2800" dirty="0" err="1" smtClean="0">
                <a:solidFill>
                  <a:schemeClr val="bg1"/>
                </a:solidFill>
              </a:rPr>
              <a:t>ptimized</a:t>
            </a:r>
            <a:endParaRPr lang="de-DE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e</a:t>
            </a:r>
            <a:r>
              <a:rPr lang="de-DE" dirty="0" err="1" smtClean="0"/>
              <a:t>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390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</a:p>
          <a:p>
            <a:pPr marL="742950" lvl="1" indent="-285750" eaLnBrk="0" hangingPunct="0">
              <a:spcBef>
                <a:spcPct val="20000"/>
              </a:spcBef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19" y="2498544"/>
            <a:ext cx="7067550" cy="286702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7823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5351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70" y="2588496"/>
            <a:ext cx="7172325" cy="255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85269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81" y="2445741"/>
            <a:ext cx="6168019" cy="2967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1337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notification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(!)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901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read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2443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246" y="2665265"/>
            <a:ext cx="71342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249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aspi_read_notify</a:t>
            </a:r>
            <a:endParaRPr kumimoji="0" lang="de-DE" sz="3200" b="0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 l="9464" t="31649" r="75183" b="52525"/>
          <a:stretch>
            <a:fillRect/>
          </a:stretch>
        </p:blipFill>
        <p:spPr bwMode="auto">
          <a:xfrm>
            <a:off x="853521" y="2467283"/>
            <a:ext cx="5596576" cy="1854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853520" y="4321629"/>
            <a:ext cx="7833280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„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rows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endParaRPr lang="de-DE" sz="24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r>
              <a:rPr lang="de-DE" sz="2000" dirty="0" smtClean="0"/>
              <a:t> ( </a:t>
            </a:r>
            <a:r>
              <a:rPr lang="de-DE" sz="2000" dirty="0" err="1" smtClean="0"/>
              <a:t>sufficient</a:t>
            </a:r>
            <a:r>
              <a:rPr lang="de-DE" sz="2000" dirty="0" smtClean="0"/>
              <a:t> </a:t>
            </a:r>
            <a:r>
              <a:rPr lang="de-DE" sz="2000" dirty="0" err="1" smtClean="0"/>
              <a:t>size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a </a:t>
            </a:r>
            <a:r>
              <a:rPr lang="de-DE" sz="2000" dirty="0" err="1" smtClean="0"/>
              <a:t>sourc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target</a:t>
            </a:r>
            <a:r>
              <a:rPr lang="de-DE" sz="2000" dirty="0" smtClean="0"/>
              <a:t> </a:t>
            </a:r>
            <a:r>
              <a:rPr lang="de-DE" sz="2000" dirty="0" err="1" smtClean="0"/>
              <a:t>row</a:t>
            </a:r>
            <a:r>
              <a:rPr lang="de-DE" sz="20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4274837"/>
              </p:ext>
            </p:extLst>
          </p:nvPr>
        </p:nvGraphicFramePr>
        <p:xfrm>
          <a:off x="1524000" y="3046324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905554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hteck 3"/>
          <p:cNvSpPr/>
          <p:nvPr/>
        </p:nvSpPr>
        <p:spPr>
          <a:xfrm>
            <a:off x="945490" y="5963362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5963362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5890337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5890337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37112" y="5891924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38205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Communicate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 </a:t>
            </a:r>
            <a:r>
              <a:rPr lang="de-DE" sz="2000" dirty="0" err="1" smtClean="0"/>
              <a:t>r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</a:t>
            </a:r>
            <a:r>
              <a:rPr lang="de-DE" sz="2000" dirty="0" err="1" smtClean="0"/>
              <a:t>right</a:t>
            </a:r>
            <a:r>
              <a:rPr lang="de-DE" sz="2000" dirty="0" smtClean="0"/>
              <a:t> </a:t>
            </a:r>
            <a:r>
              <a:rPr lang="de-DE" sz="2000" dirty="0" err="1" smtClean="0"/>
              <a:t>neighbour</a:t>
            </a:r>
            <a:r>
              <a:rPr lang="de-DE" sz="2000" dirty="0" smtClean="0"/>
              <a:t> (</a:t>
            </a:r>
            <a:r>
              <a:rPr lang="de-DE" sz="2000" dirty="0" err="1" smtClean="0"/>
              <a:t>periodic</a:t>
            </a:r>
            <a:r>
              <a:rPr lang="de-DE" sz="2000" dirty="0" smtClean="0"/>
              <a:t> BC)</a:t>
            </a:r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heck </a:t>
            </a:r>
            <a:r>
              <a:rPr lang="de-DE" sz="2000" dirty="0" err="1" smtClean="0"/>
              <a:t>tha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available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Output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sp>
        <p:nvSpPr>
          <p:cNvPr id="6" name="Rechteck 3"/>
          <p:cNvSpPr/>
          <p:nvPr/>
        </p:nvSpPr>
        <p:spPr>
          <a:xfrm>
            <a:off x="945490" y="4245616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4245616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N-1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Nach oben gekrümmter Pfeil 39"/>
          <p:cNvSpPr>
            <a:spLocks noChangeArrowheads="1"/>
          </p:cNvSpPr>
          <p:nvPr/>
        </p:nvSpPr>
        <p:spPr bwMode="auto">
          <a:xfrm rot="10800000">
            <a:off x="2223428" y="3669353"/>
            <a:ext cx="4545012" cy="503238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4172591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4172591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0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20020" y="4174178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2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18" name="Nach oben gekrümmter Pfeil 39"/>
          <p:cNvSpPr>
            <a:spLocks noChangeArrowheads="1"/>
          </p:cNvSpPr>
          <p:nvPr/>
        </p:nvSpPr>
        <p:spPr bwMode="auto">
          <a:xfrm>
            <a:off x="945490" y="4534541"/>
            <a:ext cx="387826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Nach oben gekrümmter Pfeil 39"/>
          <p:cNvSpPr>
            <a:spLocks noChangeArrowheads="1"/>
          </p:cNvSpPr>
          <p:nvPr/>
        </p:nvSpPr>
        <p:spPr bwMode="auto">
          <a:xfrm>
            <a:off x="4913832" y="4534541"/>
            <a:ext cx="305939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 Box 72"/>
          <p:cNvSpPr txBox="1">
            <a:spLocks noChangeArrowheads="1"/>
          </p:cNvSpPr>
          <p:nvPr/>
        </p:nvSpPr>
        <p:spPr bwMode="auto">
          <a:xfrm>
            <a:off x="3493428" y="3296291"/>
            <a:ext cx="1606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write_notify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21" name="Text Box 73"/>
          <p:cNvSpPr txBox="1">
            <a:spLocks noChangeArrowheads="1"/>
          </p:cNvSpPr>
          <p:nvPr/>
        </p:nvSpPr>
        <p:spPr bwMode="auto">
          <a:xfrm>
            <a:off x="6768440" y="3351853"/>
            <a:ext cx="19954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notify_waitsome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13832" y="4532953"/>
            <a:ext cx="1606188" cy="6287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8352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20860"/>
            <a:ext cx="8229600" cy="49609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cludes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tati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2 * VLEN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								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);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pointer_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segment_ptr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segment_id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) );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(double *)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+ VLEN;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{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= (double)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} </a:t>
            </a:r>
          </a:p>
        </p:txBody>
      </p:sp>
    </p:spTree>
    <p:extLst>
      <p:ext uri="{BB962C8B-B14F-4D97-AF65-F5344CB8AC3E}">
        <p14:creationId xmlns="" xmlns:p14="http://schemas.microsoft.com/office/powerpoint/2010/main" val="151187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26573" y="2405743"/>
            <a:ext cx="8453438" cy="427647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  <a:defRPr/>
            </a:pP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err="1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RIGHT (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VLEN *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1 +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);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LEF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"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,rcv_arra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 );    }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flush_queues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return EXIT_SUCCESS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}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556658" y="424543"/>
            <a:ext cx="7587342" cy="212365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/*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ri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yc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ire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-subm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/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ank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val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meou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)) == GASPI_QUEUE_FULL) {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+ 1) %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num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SUCCESS_OR_DIE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a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GASPI_BLOCK))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ASSERT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GASPI_SUCCESS);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428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Collectives</a:t>
            </a:r>
          </a:p>
        </p:txBody>
      </p:sp>
    </p:spTree>
    <p:extLst>
      <p:ext uri="{BB962C8B-B14F-4D97-AF65-F5344CB8AC3E}">
        <p14:creationId xmlns="" xmlns:p14="http://schemas.microsoft.com/office/powerpoint/2010/main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)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Collectivity</a:t>
            </a:r>
            <a:r>
              <a:rPr lang="de-DE" sz="2800" dirty="0" smtClean="0"/>
              <a:t> </a:t>
            </a:r>
            <a:r>
              <a:rPr lang="de-DE" sz="2800" dirty="0" err="1" smtClean="0"/>
              <a:t>with</a:t>
            </a:r>
            <a:r>
              <a:rPr lang="de-DE" sz="2800" dirty="0" smtClean="0"/>
              <a:t> </a:t>
            </a:r>
            <a:r>
              <a:rPr lang="de-DE" sz="2800" dirty="0" err="1" smtClean="0"/>
              <a:t>respect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definable</a:t>
            </a:r>
            <a:r>
              <a:rPr lang="de-DE" sz="2800" dirty="0" smtClean="0"/>
              <a:t> </a:t>
            </a:r>
            <a:r>
              <a:rPr lang="de-DE" sz="2800" dirty="0" err="1" smtClean="0"/>
              <a:t>subset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ranks</a:t>
            </a:r>
            <a:r>
              <a:rPr lang="de-DE" sz="2800" dirty="0" smtClean="0"/>
              <a:t> (</a:t>
            </a:r>
            <a:r>
              <a:rPr lang="de-DE" sz="2800" dirty="0" err="1" smtClean="0"/>
              <a:t>groups</a:t>
            </a:r>
            <a:r>
              <a:rPr lang="de-DE" sz="28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Each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cess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e</a:t>
            </a:r>
            <a:r>
              <a:rPr lang="de-DE" sz="2400" dirty="0" smtClean="0"/>
              <a:t> in </a:t>
            </a:r>
            <a:r>
              <a:rPr lang="de-DE" sz="2400" dirty="0" err="1" smtClean="0"/>
              <a:t>more</a:t>
            </a:r>
            <a:r>
              <a:rPr lang="de-DE" sz="2400" dirty="0" smtClean="0"/>
              <a:t> </a:t>
            </a:r>
            <a:r>
              <a:rPr lang="de-DE" sz="2400" dirty="0" err="1" smtClean="0"/>
              <a:t>than</a:t>
            </a:r>
            <a:r>
              <a:rPr lang="de-DE" sz="2400" dirty="0" smtClean="0"/>
              <a:t> </a:t>
            </a:r>
            <a:r>
              <a:rPr lang="de-DE" sz="2400" dirty="0" err="1" smtClean="0"/>
              <a:t>one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endParaRPr lang="de-DE" sz="24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Defining</a:t>
            </a:r>
            <a:r>
              <a:rPr lang="de-DE" sz="2400" dirty="0" smtClean="0"/>
              <a:t> a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three</a:t>
            </a:r>
            <a:r>
              <a:rPr lang="de-DE" sz="2400" dirty="0" smtClean="0"/>
              <a:t> </a:t>
            </a:r>
            <a:r>
              <a:rPr lang="de-DE" sz="2400" dirty="0" err="1" smtClean="0"/>
              <a:t>step</a:t>
            </a:r>
            <a:r>
              <a:rPr lang="de-DE" sz="2400" dirty="0" smtClean="0"/>
              <a:t> </a:t>
            </a:r>
            <a:r>
              <a:rPr lang="de-DE" sz="2400" dirty="0" err="1" smtClean="0"/>
              <a:t>procedure</a:t>
            </a:r>
            <a:endParaRPr lang="de-DE" sz="24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reate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add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ommit</a:t>
            </a:r>
            <a:endParaRPr lang="de-DE" sz="2000" dirty="0" smtClean="0"/>
          </a:p>
          <a:p>
            <a:pPr lvl="2">
              <a:lnSpc>
                <a:spcPct val="8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GROUP_ALL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pre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containing</a:t>
            </a:r>
            <a:r>
              <a:rPr lang="de-DE" sz="2400" dirty="0" smtClean="0"/>
              <a:t> all </a:t>
            </a:r>
            <a:r>
              <a:rPr lang="de-DE" sz="2400" dirty="0" err="1" smtClean="0"/>
              <a:t>processes</a:t>
            </a: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r>
              <a:rPr lang="de-DE" sz="2400" dirty="0" smtClean="0"/>
              <a:t>	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  <p:extLst>
      <p:ext uri="{BB962C8B-B14F-4D97-AF65-F5344CB8AC3E}">
        <p14:creationId xmlns="" xmlns:p14="http://schemas.microsoft.com/office/powerpoint/2010/main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)</a:t>
            </a:r>
          </a:p>
        </p:txBody>
      </p:sp>
      <p:sp>
        <p:nvSpPr>
          <p:cNvPr id="10547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z="2800" dirty="0" smtClean="0"/>
              <a:t>All </a:t>
            </a:r>
            <a:r>
              <a:rPr lang="de-DE" sz="2800" dirty="0" err="1" smtClean="0"/>
              <a:t>gaspi</a:t>
            </a:r>
            <a:r>
              <a:rPr lang="de-DE" sz="2800" dirty="0" smtClean="0"/>
              <a:t> </a:t>
            </a:r>
            <a:r>
              <a:rPr lang="de-DE" sz="2800" dirty="0" err="1" smtClean="0"/>
              <a:t>processes</a:t>
            </a:r>
            <a:r>
              <a:rPr lang="de-DE" sz="2800" dirty="0" smtClean="0"/>
              <a:t> </a:t>
            </a:r>
            <a:r>
              <a:rPr lang="de-DE" sz="2800" dirty="0" err="1" smtClean="0"/>
              <a:t>forming</a:t>
            </a:r>
            <a:r>
              <a:rPr lang="de-DE" sz="2800" dirty="0" smtClean="0"/>
              <a:t> a </a:t>
            </a:r>
            <a:r>
              <a:rPr lang="de-DE" sz="2800" dirty="0" err="1" smtClean="0"/>
              <a:t>given</a:t>
            </a:r>
            <a:r>
              <a:rPr lang="de-DE" sz="2800" dirty="0" smtClean="0"/>
              <a:t> </a:t>
            </a:r>
            <a:r>
              <a:rPr lang="de-DE" sz="2800" dirty="0" err="1" smtClean="0"/>
              <a:t>group</a:t>
            </a:r>
            <a:r>
              <a:rPr lang="de-DE" sz="2800" dirty="0" smtClean="0"/>
              <a:t> </a:t>
            </a:r>
            <a:r>
              <a:rPr lang="de-DE" sz="2800" dirty="0" err="1" smtClean="0"/>
              <a:t>hav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invoke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endParaRPr lang="de-DE" sz="2800" dirty="0" smtClean="0"/>
          </a:p>
          <a:p>
            <a:r>
              <a:rPr lang="de-DE" sz="2800" dirty="0" smtClean="0"/>
              <a:t>In </a:t>
            </a:r>
            <a:r>
              <a:rPr lang="de-DE" sz="2800" dirty="0" err="1" smtClean="0"/>
              <a:t>cas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a </a:t>
            </a:r>
            <a:r>
              <a:rPr lang="de-DE" sz="2800" dirty="0" err="1" smtClean="0"/>
              <a:t>timeout</a:t>
            </a:r>
            <a:r>
              <a:rPr lang="de-DE" sz="2800" dirty="0" smtClean="0"/>
              <a:t> (GASPI_TIMEOUT),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continued</a:t>
            </a:r>
            <a:r>
              <a:rPr lang="de-DE" sz="2800" dirty="0" smtClean="0"/>
              <a:t> i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xt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endParaRPr lang="de-DE" sz="2800" dirty="0" smtClean="0"/>
          </a:p>
          <a:p>
            <a:r>
              <a:rPr lang="de-DE" sz="2800" dirty="0" smtClean="0"/>
              <a:t>A </a:t>
            </a:r>
            <a:r>
              <a:rPr lang="de-DE" sz="2800" dirty="0" err="1" smtClean="0"/>
              <a:t>collectiv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may</a:t>
            </a:r>
            <a:r>
              <a:rPr lang="de-DE" sz="2800" dirty="0" smtClean="0"/>
              <a:t> </a:t>
            </a:r>
            <a:r>
              <a:rPr lang="de-DE" sz="2800" dirty="0" err="1" smtClean="0"/>
              <a:t>involve</a:t>
            </a:r>
            <a:r>
              <a:rPr lang="de-DE" sz="2800" dirty="0" smtClean="0"/>
              <a:t> </a:t>
            </a:r>
            <a:r>
              <a:rPr lang="de-DE" sz="2800" dirty="0" err="1" smtClean="0"/>
              <a:t>several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until</a:t>
            </a:r>
            <a:r>
              <a:rPr lang="de-DE" sz="2800" dirty="0" smtClean="0"/>
              <a:t> </a:t>
            </a:r>
            <a:r>
              <a:rPr lang="de-DE" sz="2800" dirty="0" err="1" smtClean="0"/>
              <a:t>completion</a:t>
            </a:r>
            <a:endParaRPr lang="de-DE" sz="2800" dirty="0" smtClean="0"/>
          </a:p>
          <a:p>
            <a:r>
              <a:rPr lang="de-DE" sz="2800" dirty="0" err="1" smtClean="0"/>
              <a:t>Comple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ndicat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SUCCESS</a:t>
            </a:r>
          </a:p>
          <a:p>
            <a:endParaRPr lang="de-DE" sz="2800" dirty="0" smtClean="0"/>
          </a:p>
        </p:txBody>
      </p:sp>
    </p:spTree>
    <p:extLst>
      <p:ext uri="{BB962C8B-B14F-4D97-AF65-F5344CB8AC3E}">
        <p14:creationId xmlns="" xmlns:p14="http://schemas.microsoft.com/office/powerpoint/2010/main" val="264673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I)</a:t>
            </a:r>
          </a:p>
        </p:txBody>
      </p:sp>
      <p:sp>
        <p:nvSpPr>
          <p:cNvPr id="10649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dirty="0" smtClean="0"/>
              <a:t>Collective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</a:t>
            </a:r>
            <a:r>
              <a:rPr lang="de-DE" dirty="0" smtClean="0"/>
              <a:t> per </a:t>
            </a:r>
            <a:r>
              <a:rPr lang="de-DE" dirty="0" err="1" smtClean="0"/>
              <a:t>group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collectiv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given</a:t>
            </a:r>
            <a:r>
              <a:rPr lang="de-DE" dirty="0" smtClean="0"/>
              <a:t> type on a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at a </a:t>
            </a:r>
            <a:r>
              <a:rPr lang="de-DE" dirty="0" err="1" smtClean="0"/>
              <a:t>given</a:t>
            </a:r>
            <a:r>
              <a:rPr lang="de-DE" dirty="0" smtClean="0"/>
              <a:t> time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Otherwise</a:t>
            </a:r>
            <a:r>
              <a:rPr lang="de-DE" dirty="0" smtClean="0"/>
              <a:t>: </a:t>
            </a:r>
            <a:r>
              <a:rPr lang="de-DE" dirty="0" err="1" smtClean="0"/>
              <a:t>undefined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err="1" smtClean="0"/>
              <a:t>Example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  <a:p>
            <a:pPr lvl="1">
              <a:lnSpc>
                <a:spcPct val="90000"/>
              </a:lnSpc>
            </a:pPr>
            <a:r>
              <a:rPr lang="de-DE" dirty="0" smtClean="0"/>
              <a:t>An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low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</p:txBody>
      </p:sp>
    </p:spTree>
    <p:extLst>
      <p:ext uri="{BB962C8B-B14F-4D97-AF65-F5344CB8AC3E}">
        <p14:creationId xmlns="" xmlns:p14="http://schemas.microsoft.com/office/powerpoint/2010/main" val="339408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Functions</a:t>
            </a:r>
          </a:p>
        </p:txBody>
      </p:sp>
      <p:sp>
        <p:nvSpPr>
          <p:cNvPr id="1075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Built i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barrier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OP_MIN, GASPI_OP_MAX, GASPI_OP_SUM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TYPE_INT, GASPI_TYPE_UINT, GASPI_TYPE_LONG, GASPI_TYPE_ULONG, GASPI_TYPE_FLOAT, GASPI_TYPE_DOUBLE</a:t>
            </a:r>
          </a:p>
          <a:p>
            <a:pPr>
              <a:lnSpc>
                <a:spcPct val="90000"/>
              </a:lnSpc>
            </a:pPr>
            <a:r>
              <a:rPr lang="de-DE" smtClean="0"/>
              <a:t>User defin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 user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</p:spTree>
    <p:extLst>
      <p:ext uri="{BB962C8B-B14F-4D97-AF65-F5344CB8AC3E}">
        <p14:creationId xmlns="" xmlns:p14="http://schemas.microsoft.com/office/powerpoint/2010/main" val="2188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barrier</a:t>
            </a:r>
          </a:p>
        </p:txBody>
      </p:sp>
      <p:sp>
        <p:nvSpPr>
          <p:cNvPr id="1085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Collective Function</a:t>
            </a:r>
          </a:p>
        </p:txBody>
      </p:sp>
      <p:pic>
        <p:nvPicPr>
          <p:cNvPr id="10854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4419600" cy="8239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08549" name="Rectangle 3"/>
          <p:cNvSpPr>
            <a:spLocks/>
          </p:cNvSpPr>
          <p:nvPr/>
        </p:nvSpPr>
        <p:spPr bwMode="auto">
          <a:xfrm>
            <a:off x="457200" y="34623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allreduce</a:t>
            </a:r>
          </a:p>
        </p:txBody>
      </p:sp>
      <p:pic>
        <p:nvPicPr>
          <p:cNvPr id="10855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7100" y="4124325"/>
            <a:ext cx="5592763" cy="22717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055963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457200" y="906463"/>
            <a:ext cx="822960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at a Glan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26" name="AutoShape 2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8" name="AutoShape 4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30" name="Picture 6" descr="https://southfloridasigncompany.com/wp-content/uploads/2016/02/Nuts-Bolts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6914" y="3995057"/>
            <a:ext cx="1916503" cy="1274909"/>
          </a:xfrm>
          <a:prstGeom prst="rect">
            <a:avLst/>
          </a:prstGeom>
          <a:noFill/>
        </p:spPr>
      </p:pic>
      <p:sp>
        <p:nvSpPr>
          <p:cNvPr id="1034" name="AutoShape 10" descr="Bildergebnis für kohle radbagg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 descr="com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5" y="1897063"/>
            <a:ext cx="4712445" cy="2517698"/>
          </a:xfrm>
          <a:prstGeom prst="rect">
            <a:avLst/>
          </a:prstGeom>
        </p:spPr>
      </p:pic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434002" y="5415132"/>
            <a:ext cx="518494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Nu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nd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Bol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for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Communication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ngines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Passive communication</a:t>
            </a:r>
          </a:p>
        </p:txBody>
      </p:sp>
    </p:spTree>
    <p:extLst>
      <p:ext uri="{BB962C8B-B14F-4D97-AF65-F5344CB8AC3E}">
        <p14:creationId xmlns="" xmlns:p14="http://schemas.microsoft.com/office/powerpoint/2010/main" val="319682926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)</a:t>
            </a:r>
          </a:p>
        </p:txBody>
      </p:sp>
      <p:sp>
        <p:nvSpPr>
          <p:cNvPr id="110595" name="Rectangle 3"/>
          <p:cNvSpPr>
            <a:spLocks noGrp="1"/>
          </p:cNvSpPr>
          <p:nvPr>
            <p:ph type="body" idx="4294967295"/>
          </p:nvPr>
        </p:nvSpPr>
        <p:spPr>
          <a:xfrm>
            <a:off x="457200" y="1897063"/>
            <a:ext cx="8229600" cy="4960937"/>
          </a:xfrm>
        </p:spPr>
        <p:txBody>
          <a:bodyPr/>
          <a:lstStyle/>
          <a:p>
            <a:r>
              <a:rPr lang="de-DE" smtClean="0"/>
              <a:t>2 sided semantics send/recv</a:t>
            </a:r>
          </a:p>
          <a:p>
            <a:pPr lvl="1"/>
            <a:r>
              <a:rPr lang="de-DE" smtClean="0"/>
              <a:t>gaspi_passive_send </a:t>
            </a:r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2"/>
            <a:r>
              <a:rPr lang="de-DE" smtClean="0"/>
              <a:t>time based blocking</a:t>
            </a:r>
          </a:p>
          <a:p>
            <a:pPr lvl="1">
              <a:buFont typeface="Arial" charset="0"/>
              <a:buNone/>
            </a:pPr>
            <a:endParaRPr lang="de-DE" smtClean="0"/>
          </a:p>
        </p:txBody>
      </p:sp>
      <p:pic>
        <p:nvPicPr>
          <p:cNvPr id="11059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750" y="3095625"/>
            <a:ext cx="6926263" cy="17430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20401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)</a:t>
            </a:r>
          </a:p>
        </p:txBody>
      </p:sp>
      <p:sp>
        <p:nvSpPr>
          <p:cNvPr id="11161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de-DE" smtClean="0"/>
              <a:t>Gaspi_passive receive</a:t>
            </a:r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2">
              <a:lnSpc>
                <a:spcPct val="90000"/>
              </a:lnSpc>
            </a:pPr>
            <a:r>
              <a:rPr lang="de-DE" smtClean="0"/>
              <a:t>Time based blocking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Sends calling thread to sleep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Wakes up calling thread in case of incoming message or given timeout has been reached</a:t>
            </a:r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2"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  <p:pic>
        <p:nvPicPr>
          <p:cNvPr id="1116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2493963"/>
            <a:ext cx="6365875" cy="171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3103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11264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buFont typeface="Arial" charset="0"/>
              <a:buNone/>
            </a:pPr>
            <a:endParaRPr lang="de-DE" dirty="0" smtClean="0"/>
          </a:p>
          <a:p>
            <a:r>
              <a:rPr lang="de-DE" dirty="0" smtClean="0"/>
              <a:t>Higher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Parameter </a:t>
            </a:r>
            <a:r>
              <a:rPr lang="de-DE" dirty="0" err="1" smtClean="0"/>
              <a:t>exchange</a:t>
            </a:r>
            <a:endParaRPr lang="de-DE" dirty="0" smtClean="0"/>
          </a:p>
          <a:p>
            <a:pPr lvl="2"/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</a:p>
          <a:p>
            <a:pPr lvl="2"/>
            <a:r>
              <a:rPr lang="de-DE" dirty="0" smtClean="0"/>
              <a:t>„Passive“ </a:t>
            </a:r>
            <a:r>
              <a:rPr lang="de-DE" dirty="0" err="1" smtClean="0"/>
              <a:t>Active</a:t>
            </a:r>
            <a:r>
              <a:rPr lang="de-DE" dirty="0" smtClean="0"/>
              <a:t> Messages (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)</a:t>
            </a:r>
          </a:p>
          <a:p>
            <a:pPr lvl="3"/>
            <a:r>
              <a:rPr lang="de-DE" sz="2400" dirty="0" smtClean="0"/>
              <a:t>GASPI Swiss </a:t>
            </a:r>
            <a:r>
              <a:rPr lang="de-DE" sz="2400" dirty="0" err="1" smtClean="0"/>
              <a:t>Army</a:t>
            </a:r>
            <a:r>
              <a:rPr lang="de-DE" sz="2400" dirty="0" smtClean="0"/>
              <a:t> </a:t>
            </a:r>
            <a:r>
              <a:rPr lang="de-DE" sz="2400" dirty="0" err="1" smtClean="0"/>
              <a:t>Knife</a:t>
            </a:r>
            <a:r>
              <a:rPr lang="de-DE" sz="2400" dirty="0" smtClean="0"/>
              <a:t>.</a:t>
            </a:r>
          </a:p>
          <a:p>
            <a:pPr lvl="2">
              <a:buFont typeface="Arial" charset="0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13891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_pass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arg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 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;  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1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assive_rece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GASPI_BLOCK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cket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*t = (packet *) (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*)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+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t-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rank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}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LL;</a:t>
            </a:r>
          </a:p>
        </p:txBody>
      </p:sp>
    </p:spTree>
    <p:extLst>
      <p:ext uri="{BB962C8B-B14F-4D97-AF65-F5344CB8AC3E}">
        <p14:creationId xmlns="" xmlns:p14="http://schemas.microsoft.com/office/powerpoint/2010/main" val="81250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ult Tolerance</a:t>
            </a:r>
          </a:p>
        </p:txBody>
      </p:sp>
    </p:spTree>
    <p:extLst>
      <p:ext uri="{BB962C8B-B14F-4D97-AF65-F5344CB8AC3E}">
        <p14:creationId xmlns="" xmlns:p14="http://schemas.microsoft.com/office/powerpoint/2010/main" val="1701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eatures</a:t>
            </a:r>
          </a:p>
        </p:txBody>
      </p:sp>
      <p:sp>
        <p:nvSpPr>
          <p:cNvPr id="1003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Implementation </a:t>
            </a:r>
            <a:r>
              <a:rPr lang="de-DE" sz="2800" dirty="0" err="1" smtClean="0"/>
              <a:t>of</a:t>
            </a:r>
            <a:r>
              <a:rPr lang="de-DE" sz="2800" dirty="0" smtClean="0"/>
              <a:t> fault </a:t>
            </a:r>
            <a:r>
              <a:rPr lang="de-DE" sz="2800" dirty="0" err="1" smtClean="0"/>
              <a:t>toleranc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up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application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But: </a:t>
            </a:r>
            <a:r>
              <a:rPr lang="de-DE" sz="2800" dirty="0" err="1" smtClean="0"/>
              <a:t>well</a:t>
            </a:r>
            <a:r>
              <a:rPr lang="de-DE" sz="2800" dirty="0" smtClean="0"/>
              <a:t> </a:t>
            </a:r>
            <a:r>
              <a:rPr lang="de-DE" sz="2800" dirty="0" err="1" smtClean="0"/>
              <a:t>defined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able</a:t>
            </a:r>
            <a:r>
              <a:rPr lang="de-DE" sz="2800" dirty="0" smtClean="0"/>
              <a:t> </a:t>
            </a:r>
            <a:r>
              <a:rPr lang="de-DE" sz="2800" dirty="0" err="1" smtClean="0"/>
              <a:t>state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at </a:t>
            </a:r>
            <a:r>
              <a:rPr lang="de-DE" sz="2800" dirty="0" err="1" smtClean="0"/>
              <a:t>any</a:t>
            </a:r>
            <a:r>
              <a:rPr lang="de-DE" sz="2800" dirty="0" smtClean="0"/>
              <a:t> time </a:t>
            </a:r>
            <a:r>
              <a:rPr lang="de-DE" sz="2800" dirty="0" err="1" smtClean="0"/>
              <a:t>b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Timeout </a:t>
            </a:r>
            <a:r>
              <a:rPr lang="de-DE" sz="2400" dirty="0" err="1" smtClean="0"/>
              <a:t>mechanism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Potentially</a:t>
            </a:r>
            <a:r>
              <a:rPr lang="de-DE" sz="2000" dirty="0" smtClean="0"/>
              <a:t> 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 </a:t>
            </a:r>
            <a:r>
              <a:rPr lang="de-DE" sz="2000" dirty="0" err="1" smtClean="0"/>
              <a:t>routines</a:t>
            </a:r>
            <a:r>
              <a:rPr lang="de-DE" sz="2000" dirty="0" smtClean="0"/>
              <a:t> </a:t>
            </a:r>
            <a:r>
              <a:rPr lang="de-DE" sz="2000" dirty="0" err="1" smtClean="0"/>
              <a:t>equipp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timeou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Error </a:t>
            </a:r>
            <a:r>
              <a:rPr lang="de-DE" sz="2400" dirty="0" err="1" smtClean="0"/>
              <a:t>vector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contains</a:t>
            </a:r>
            <a:r>
              <a:rPr lang="de-DE" sz="2000" dirty="0" smtClean="0"/>
              <a:t> </a:t>
            </a:r>
            <a:r>
              <a:rPr lang="de-DE" sz="2000" dirty="0" err="1" smtClean="0"/>
              <a:t>health</a:t>
            </a:r>
            <a:r>
              <a:rPr lang="de-DE" sz="2000" dirty="0" smtClean="0"/>
              <a:t> </a:t>
            </a:r>
            <a:r>
              <a:rPr lang="de-DE" sz="2000" dirty="0" err="1" smtClean="0"/>
              <a:t>stat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commun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partner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Dynamic </a:t>
            </a:r>
            <a:r>
              <a:rPr lang="de-DE" sz="2400" dirty="0" err="1" smtClean="0"/>
              <a:t>node</a:t>
            </a:r>
            <a:r>
              <a:rPr lang="de-DE" sz="2400" dirty="0" smtClean="0"/>
              <a:t> </a:t>
            </a:r>
            <a:r>
              <a:rPr lang="de-DE" sz="2400" dirty="0" err="1" smtClean="0"/>
              <a:t>set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substitu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387441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</a:p>
        </p:txBody>
      </p:sp>
    </p:spTree>
    <p:extLst>
      <p:ext uri="{BB962C8B-B14F-4D97-AF65-F5344CB8AC3E}">
        <p14:creationId xmlns="" xmlns:p14="http://schemas.microsoft.com/office/powerpoint/2010/main" val="215801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55520"/>
            <a:ext cx="8229600" cy="3870642"/>
          </a:xfrm>
        </p:spPr>
        <p:txBody>
          <a:bodyPr/>
          <a:lstStyle/>
          <a:p>
            <a:r>
              <a:rPr lang="en-US" sz="2400" dirty="0" smtClean="0"/>
              <a:t>GASPI supports interoperability </a:t>
            </a:r>
            <a:r>
              <a:rPr lang="en-US" sz="2400" dirty="0"/>
              <a:t>with MPI in a so-called </a:t>
            </a:r>
            <a:r>
              <a:rPr lang="en-US" sz="2400" dirty="0" smtClean="0"/>
              <a:t>mixed-mode.</a:t>
            </a:r>
            <a:endParaRPr lang="en-US" sz="2400" dirty="0"/>
          </a:p>
          <a:p>
            <a:r>
              <a:rPr lang="en-US" sz="2400" dirty="0" smtClean="0"/>
              <a:t>The mixed-mode allows for </a:t>
            </a:r>
          </a:p>
          <a:p>
            <a:pPr lvl="1"/>
            <a:r>
              <a:rPr lang="en-US" sz="2400" dirty="0"/>
              <a:t>e</a:t>
            </a:r>
            <a:r>
              <a:rPr lang="en-US" sz="2400" dirty="0" smtClean="0"/>
              <a:t>ither entirely porting an MPI application to GASPI</a:t>
            </a:r>
          </a:p>
          <a:p>
            <a:pPr lvl="1"/>
            <a:r>
              <a:rPr lang="en-US" sz="2400" dirty="0" smtClean="0"/>
              <a:t>or replacing performance-critical parts of an MPI based application with GASPI code (useful when dealing with large MPI code bases)</a:t>
            </a:r>
            <a:endParaRPr lang="en-US" sz="2400" dirty="0"/>
          </a:p>
          <a:p>
            <a:r>
              <a:rPr lang="en-US" sz="2400" dirty="0" smtClean="0"/>
              <a:t>Porting guides available at:</a:t>
            </a:r>
          </a:p>
          <a:p>
            <a:pPr marL="0" indent="0">
              <a:buNone/>
            </a:pPr>
            <a:r>
              <a:rPr lang="en-US" sz="2400" dirty="0"/>
              <a:t>	</a:t>
            </a:r>
            <a:r>
              <a:rPr lang="en-US" sz="2400" dirty="0" smtClean="0"/>
              <a:t>	http</a:t>
            </a:r>
            <a:r>
              <a:rPr lang="en-US" sz="2400" dirty="0"/>
              <a:t>://www.gpi-site.com/gpi2/docs/whitepapers/</a:t>
            </a:r>
            <a:endParaRPr lang="de-DE" sz="2400" dirty="0"/>
          </a:p>
        </p:txBody>
      </p:sp>
    </p:spTree>
    <p:extLst>
      <p:ext uri="{BB962C8B-B14F-4D97-AF65-F5344CB8AC3E}">
        <p14:creationId xmlns="" xmlns:p14="http://schemas.microsoft.com/office/powerpoint/2010/main" val="33547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Mixing GASPI </a:t>
            </a:r>
            <a:r>
              <a:rPr lang="en-GB" dirty="0"/>
              <a:t>and </a:t>
            </a:r>
            <a:r>
              <a:rPr lang="en-GB" dirty="0" smtClean="0"/>
              <a:t>MPI </a:t>
            </a:r>
            <a:br>
              <a:rPr lang="en-GB" dirty="0" smtClean="0"/>
            </a:br>
            <a:r>
              <a:rPr lang="en-GB" dirty="0" smtClean="0"/>
              <a:t>in Parallel </a:t>
            </a:r>
            <a:r>
              <a:rPr lang="en-GB" dirty="0"/>
              <a:t>P</a:t>
            </a:r>
            <a:r>
              <a:rPr lang="en-GB" dirty="0" smtClean="0"/>
              <a:t>rogra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51" y="2281023"/>
            <a:ext cx="4929052" cy="4045437"/>
          </a:xfrm>
        </p:spPr>
        <p:txBody>
          <a:bodyPr/>
          <a:lstStyle/>
          <a:p>
            <a:pPr marL="0" indent="-400050"/>
            <a:r>
              <a:rPr lang="en-GB" sz="2400" dirty="0" smtClean="0"/>
              <a:t>GASPI must be installed with MPI support, using the option</a:t>
            </a:r>
          </a:p>
          <a:p>
            <a:pPr marL="400050" lvl="2" indent="0">
              <a:buNone/>
            </a:pPr>
            <a:r>
              <a:rPr lang="en-GB" sz="2000" dirty="0" smtClean="0"/>
              <a:t>--with-</a:t>
            </a:r>
            <a:r>
              <a:rPr lang="en-GB" sz="2000" dirty="0" err="1" smtClean="0"/>
              <a:t>mpi</a:t>
            </a:r>
            <a:r>
              <a:rPr lang="en-GB" sz="2000" dirty="0"/>
              <a:t> </a:t>
            </a:r>
            <a:r>
              <a:rPr lang="en-GB" sz="2000" dirty="0" smtClean="0"/>
              <a:t> &lt;</a:t>
            </a:r>
            <a:r>
              <a:rPr lang="en-GB" sz="2000" dirty="0" err="1" smtClean="0"/>
              <a:t>path_to_mpi_installation</a:t>
            </a:r>
            <a:r>
              <a:rPr lang="en-GB" sz="2000" dirty="0" smtClean="0"/>
              <a:t>&gt;</a:t>
            </a:r>
          </a:p>
          <a:p>
            <a:pPr marL="0" indent="-400050"/>
            <a:r>
              <a:rPr lang="en-US" sz="2400" dirty="0" smtClean="0"/>
              <a:t>MPI </a:t>
            </a:r>
            <a:r>
              <a:rPr lang="en-US" sz="2400" dirty="0"/>
              <a:t>must be initialized before </a:t>
            </a:r>
            <a:r>
              <a:rPr lang="en-US" sz="2400" dirty="0" smtClean="0"/>
              <a:t>  GASPI, </a:t>
            </a:r>
            <a:r>
              <a:rPr lang="en-US" sz="2400" dirty="0"/>
              <a:t>as shown in </a:t>
            </a:r>
            <a:r>
              <a:rPr lang="en-US" sz="2400" dirty="0" smtClean="0"/>
              <a:t>the joined example</a:t>
            </a:r>
          </a:p>
          <a:p>
            <a:pPr marL="0" indent="-400050"/>
            <a:r>
              <a:rPr lang="en-US" sz="2400" dirty="0"/>
              <a:t>T</a:t>
            </a:r>
            <a:r>
              <a:rPr lang="en-US" sz="2400" dirty="0" smtClean="0"/>
              <a:t>he same command or script as the one provided by the MPI installation  should be used for starting  programs (</a:t>
            </a:r>
            <a:r>
              <a:rPr lang="en-US" sz="2400" dirty="0" err="1" smtClean="0"/>
              <a:t>mpirun</a:t>
            </a:r>
            <a:r>
              <a:rPr lang="en-US" sz="2400" dirty="0" smtClean="0"/>
              <a:t> or similar)</a:t>
            </a:r>
            <a:endParaRPr lang="en-US" sz="2000" dirty="0"/>
          </a:p>
          <a:p>
            <a:pPr marL="0" indent="-400050"/>
            <a:r>
              <a:rPr lang="de-DE" sz="2400" dirty="0" err="1"/>
              <a:t>g</a:t>
            </a:r>
            <a:r>
              <a:rPr lang="de-DE" sz="2400" dirty="0" err="1" smtClean="0"/>
              <a:t>aspi_run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!</a:t>
            </a:r>
            <a:endParaRPr lang="de-DE" sz="2400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207726" y="2447109"/>
            <a:ext cx="3815622" cy="387935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</a:t>
            </a: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…</a:t>
            </a:r>
          </a:p>
          <a:p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hutdown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0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306474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09</Words>
  <Application>Microsoft Office PowerPoint</Application>
  <PresentationFormat>Bildschirmpräsentation (4:3)</PresentationFormat>
  <Paragraphs>1334</Paragraphs>
  <Slides>169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9</vt:i4>
      </vt:variant>
    </vt:vector>
  </HeadingPairs>
  <TitlesOfParts>
    <vt:vector size="170" baseType="lpstr">
      <vt:lpstr>Office-Design</vt:lpstr>
      <vt:lpstr>GASPI Tutorial</vt:lpstr>
      <vt:lpstr>Schedule</vt:lpstr>
      <vt:lpstr>GASPI Tutorial Questionnaire</vt:lpstr>
      <vt:lpstr>Round of Introductions</vt:lpstr>
      <vt:lpstr>Goals</vt:lpstr>
      <vt:lpstr>Outline</vt:lpstr>
      <vt:lpstr>Outline</vt:lpstr>
      <vt:lpstr>Introduction to GASPI</vt:lpstr>
      <vt:lpstr>Folie 9</vt:lpstr>
      <vt:lpstr>GASPI at a Glance</vt:lpstr>
      <vt:lpstr>GASPI History</vt:lpstr>
      <vt:lpstr>Folie 12</vt:lpstr>
      <vt:lpstr> GASPI in  European Exascale Projects</vt:lpstr>
      <vt:lpstr>Folie 14</vt:lpstr>
      <vt:lpstr>Concepts: Communication</vt:lpstr>
      <vt:lpstr>Concepts:  One-Sided Communication</vt:lpstr>
      <vt:lpstr>Concepts:  Segments</vt:lpstr>
      <vt:lpstr>Concepts:  Segments</vt:lpstr>
      <vt:lpstr>Concepts:  one-sided Communication</vt:lpstr>
      <vt:lpstr>Concepts:  one-sided Communication</vt:lpstr>
      <vt:lpstr>Concepts:  Synchronisation with Notifications</vt:lpstr>
      <vt:lpstr>Concepts:  Synchronisation with Notifications</vt:lpstr>
      <vt:lpstr>Concepts: overlap of Communication and Computation</vt:lpstr>
      <vt:lpstr>Concepts: Warning! </vt:lpstr>
      <vt:lpstr>Concepts: Communication Queues</vt:lpstr>
      <vt:lpstr>The GASPI API</vt:lpstr>
      <vt:lpstr>Execution Model</vt:lpstr>
      <vt:lpstr>GASPI Execution Model</vt:lpstr>
      <vt:lpstr>GASPI Return Values</vt:lpstr>
      <vt:lpstr>success_or_die.h</vt:lpstr>
      <vt:lpstr>Timeout Mechanism</vt:lpstr>
      <vt:lpstr>GASPI Process Management</vt:lpstr>
      <vt:lpstr>GASPI Initialization</vt:lpstr>
      <vt:lpstr>GASPI Finalization</vt:lpstr>
      <vt:lpstr>GASPI Process Identification</vt:lpstr>
      <vt:lpstr>GASPI Startup</vt:lpstr>
      <vt:lpstr>Hello world – Hands on</vt:lpstr>
      <vt:lpstr>GASPI „hello world“</vt:lpstr>
      <vt:lpstr>Memory Segments</vt:lpstr>
      <vt:lpstr>Segments</vt:lpstr>
      <vt:lpstr>Segments</vt:lpstr>
      <vt:lpstr>GASPI Segments</vt:lpstr>
      <vt:lpstr>Segment Functions</vt:lpstr>
      <vt:lpstr>GASPI Segment Allocation </vt:lpstr>
      <vt:lpstr>GASPI Segment Creation </vt:lpstr>
      <vt:lpstr>GASPI Segment with given Buffer</vt:lpstr>
      <vt:lpstr>GASPI Segment with given Buffer</vt:lpstr>
      <vt:lpstr>GASPI Segment Deletion </vt:lpstr>
      <vt:lpstr>GASPI Segment Utils</vt:lpstr>
      <vt:lpstr>GASPI Segment Utils</vt:lpstr>
      <vt:lpstr>Using Segments – Hands on</vt:lpstr>
      <vt:lpstr>Using Segments (I)</vt:lpstr>
      <vt:lpstr>Using Segments (II)</vt:lpstr>
      <vt:lpstr>One-sided Communication</vt:lpstr>
      <vt:lpstr>GASPI One-sided Communication</vt:lpstr>
      <vt:lpstr>GASPI One-sided Communication</vt:lpstr>
      <vt:lpstr>GASPI One-sided Communication</vt:lpstr>
      <vt:lpstr>Queues (I)</vt:lpstr>
      <vt:lpstr>Queues (II)</vt:lpstr>
      <vt:lpstr>Queues (III)</vt:lpstr>
      <vt:lpstr>GASPI Queue Utils</vt:lpstr>
      <vt:lpstr>GASPI Queue Utils</vt:lpstr>
      <vt:lpstr>GASPI Queue Utils</vt:lpstr>
      <vt:lpstr>write_and_wait</vt:lpstr>
      <vt:lpstr>write_notify_and_cycle</vt:lpstr>
      <vt:lpstr>wait_for_flush_queues</vt:lpstr>
      <vt:lpstr>Data Synchronization By Notification</vt:lpstr>
      <vt:lpstr>GASPI Notification Mechanism</vt:lpstr>
      <vt:lpstr>GASPI Notification Mechanism</vt:lpstr>
      <vt:lpstr>GASPI Notification Mechanism</vt:lpstr>
      <vt:lpstr>GASPI Notification Mechanism</vt:lpstr>
      <vt:lpstr>wait_or_die</vt:lpstr>
      <vt:lpstr>test_or_die</vt:lpstr>
      <vt:lpstr>Extended One-sided Calls</vt:lpstr>
      <vt:lpstr>GASPI extended one-sided</vt:lpstr>
      <vt:lpstr>GASPI extended one-sided</vt:lpstr>
      <vt:lpstr>GASPI extended one-sided</vt:lpstr>
      <vt:lpstr>GASPI extended one-sided</vt:lpstr>
      <vt:lpstr>Folie 79</vt:lpstr>
      <vt:lpstr>Communication – Hands on</vt:lpstr>
      <vt:lpstr>Communication – Hands on</vt:lpstr>
      <vt:lpstr>onesided.c (I)</vt:lpstr>
      <vt:lpstr>Folie 83</vt:lpstr>
      <vt:lpstr>Collectives</vt:lpstr>
      <vt:lpstr>Collective Operations (I)</vt:lpstr>
      <vt:lpstr>Collective Operations (II)</vt:lpstr>
      <vt:lpstr>Collective Operations (III)</vt:lpstr>
      <vt:lpstr>Collective Functions</vt:lpstr>
      <vt:lpstr>GASPI Collective Function</vt:lpstr>
      <vt:lpstr>Passive communication</vt:lpstr>
      <vt:lpstr>Passive Communication Functions (I)</vt:lpstr>
      <vt:lpstr>Passive Communication Functions (II)</vt:lpstr>
      <vt:lpstr>Passive Communication Functions (III)</vt:lpstr>
      <vt:lpstr>Passive Communication Functions (III)</vt:lpstr>
      <vt:lpstr>Fault Tolerance</vt:lpstr>
      <vt:lpstr>Features</vt:lpstr>
      <vt:lpstr>Interoperability with MPI</vt:lpstr>
      <vt:lpstr>Interoperability with MPI</vt:lpstr>
      <vt:lpstr>Mixing GASPI and MPI  in Parallel Programs</vt:lpstr>
      <vt:lpstr>GASPI Preserves the MPI Ranks </vt:lpstr>
      <vt:lpstr>Using User Provided  Memory for Segments </vt:lpstr>
      <vt:lpstr>Using GASPI Segment Allocated Memory in MPI Communication</vt:lpstr>
      <vt:lpstr>Mixing MPI Code with  GASPI Code From a Library</vt:lpstr>
      <vt:lpstr>Interoperability - Hands on</vt:lpstr>
      <vt:lpstr>Interoperability - Hands on - II</vt:lpstr>
      <vt:lpstr>The GASPI programming model</vt:lpstr>
      <vt:lpstr>Think performance</vt:lpstr>
      <vt:lpstr>Example: allgatherV</vt:lpstr>
      <vt:lpstr>Example: allgatherV</vt:lpstr>
      <vt:lpstr>Example: Stencil applications</vt:lpstr>
      <vt:lpstr>Stencil application proxy</vt:lpstr>
      <vt:lpstr>Stencil application proxy</vt:lpstr>
      <vt:lpstr>Fork-Join model</vt:lpstr>
      <vt:lpstr>Iteration 1</vt:lpstr>
      <vt:lpstr>Iteration 2</vt:lpstr>
      <vt:lpstr>Iteration 3</vt:lpstr>
      <vt:lpstr>Iteration 4</vt:lpstr>
      <vt:lpstr>Folie 118</vt:lpstr>
      <vt:lpstr>Temporal evolution</vt:lpstr>
      <vt:lpstr>More than one process …</vt:lpstr>
      <vt:lpstr>Elementary update</vt:lpstr>
      <vt:lpstr>Boundary / Halo domains</vt:lpstr>
      <vt:lpstr>Folie 123</vt:lpstr>
      <vt:lpstr>Memory layout</vt:lpstr>
      <vt:lpstr>Bulk Synchronous </vt:lpstr>
      <vt:lpstr>Communication phase</vt:lpstr>
      <vt:lpstr>Computation phase</vt:lpstr>
      <vt:lpstr>Communication phase </vt:lpstr>
      <vt:lpstr>Computation phase</vt:lpstr>
      <vt:lpstr>Hands-on</vt:lpstr>
      <vt:lpstr>The GASPI Ring Exchange </vt:lpstr>
      <vt:lpstr>Excursion: Efficient parallel         execution</vt:lpstr>
      <vt:lpstr>Efficient parallel execution</vt:lpstr>
      <vt:lpstr>Efficient parallel execution</vt:lpstr>
      <vt:lpstr>Scalability S</vt:lpstr>
      <vt:lpstr>Scalability S</vt:lpstr>
      <vt:lpstr>Implications for parallelization</vt:lpstr>
      <vt:lpstr>Implications for parallelization</vt:lpstr>
      <vt:lpstr>End of Excursion</vt:lpstr>
      <vt:lpstr>Temporal evolution: one iteration</vt:lpstr>
      <vt:lpstr>Temporal evolution: one iteration</vt:lpstr>
      <vt:lpstr>Temporal evolution: all iterations</vt:lpstr>
      <vt:lpstr>Temporal evolution: all iterations</vt:lpstr>
      <vt:lpstr>CommUNICATION / computation overlap</vt:lpstr>
      <vt:lpstr>Strategy</vt:lpstr>
      <vt:lpstr>Strategy</vt:lpstr>
      <vt:lpstr>Single iteration</vt:lpstr>
      <vt:lpstr>Left boundary element:</vt:lpstr>
      <vt:lpstr>Left boundary element:</vt:lpstr>
      <vt:lpstr>Left boundary element:</vt:lpstr>
      <vt:lpstr>Left boundary element:</vt:lpstr>
      <vt:lpstr>Left boundary element:</vt:lpstr>
      <vt:lpstr>Single iteration</vt:lpstr>
      <vt:lpstr>Hands-on</vt:lpstr>
      <vt:lpstr>The GASPI Ring Exchange </vt:lpstr>
      <vt:lpstr>Temporal evolution</vt:lpstr>
      <vt:lpstr>Temporal evolution</vt:lpstr>
      <vt:lpstr>Data dependency Driven</vt:lpstr>
      <vt:lpstr>Folie 159</vt:lpstr>
      <vt:lpstr>Folie 160</vt:lpstr>
      <vt:lpstr>Reduce synchronicity</vt:lpstr>
      <vt:lpstr>Folie 162</vt:lpstr>
      <vt:lpstr>The GASPI Ring Exchange </vt:lpstr>
      <vt:lpstr>Hands-on</vt:lpstr>
      <vt:lpstr>The GASPI Ring Exchange </vt:lpstr>
      <vt:lpstr>Temporal evolution</vt:lpstr>
      <vt:lpstr>The GASPI Ring Exchange </vt:lpstr>
      <vt:lpstr>Folie 168</vt:lpstr>
      <vt:lpstr>Questions?</vt:lpstr>
    </vt:vector>
  </TitlesOfParts>
  <Company>Fraunhofer SCA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artensmeier</dc:creator>
  <cp:lastModifiedBy>csimmend</cp:lastModifiedBy>
  <cp:revision>660</cp:revision>
  <cp:lastPrinted>2016-09-09T12:35:29Z</cp:lastPrinted>
  <dcterms:created xsi:type="dcterms:W3CDTF">2011-08-04T07:58:50Z</dcterms:created>
  <dcterms:modified xsi:type="dcterms:W3CDTF">2017-02-28T14:39:18Z</dcterms:modified>
</cp:coreProperties>
</file>